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256" r:id="rId2"/>
    <p:sldId id="283" r:id="rId3"/>
    <p:sldId id="270" r:id="rId4"/>
    <p:sldId id="257" r:id="rId5"/>
    <p:sldId id="279" r:id="rId6"/>
    <p:sldId id="259" r:id="rId7"/>
    <p:sldId id="265" r:id="rId8"/>
    <p:sldId id="260" r:id="rId9"/>
    <p:sldId id="258" r:id="rId10"/>
    <p:sldId id="280" r:id="rId11"/>
    <p:sldId id="261" r:id="rId12"/>
    <p:sldId id="262" r:id="rId13"/>
    <p:sldId id="281" r:id="rId14"/>
    <p:sldId id="264" r:id="rId15"/>
    <p:sldId id="275" r:id="rId16"/>
    <p:sldId id="282" r:id="rId17"/>
    <p:sldId id="266" r:id="rId18"/>
    <p:sldId id="267" r:id="rId19"/>
    <p:sldId id="269" r:id="rId20"/>
    <p:sldId id="268" r:id="rId21"/>
    <p:sldId id="263" r:id="rId22"/>
    <p:sldId id="271" r:id="rId23"/>
    <p:sldId id="286" r:id="rId24"/>
    <p:sldId id="284" r:id="rId25"/>
    <p:sldId id="285" r:id="rId26"/>
    <p:sldId id="272" r:id="rId27"/>
    <p:sldId id="273" r:id="rId28"/>
    <p:sldId id="278" r:id="rId29"/>
    <p:sldId id="277" r:id="rId30"/>
    <p:sldId id="274" r:id="rId31"/>
    <p:sldId id="276" r:id="rId32"/>
    <p:sldId id="287" r:id="rId33"/>
    <p:sldId id="288" r:id="rId34"/>
    <p:sldId id="289" r:id="rId3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1638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43497757847533"/>
          <c:y val="6.6037735849056603E-2"/>
          <c:w val="0.81165919282511212"/>
          <c:h val="0.8742138364779874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11718">
              <a:noFill/>
              <a:prstDash val="solid"/>
            </a:ln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9.8000000000011145</c:v>
                </c:pt>
                <c:pt idx="1">
                  <c:v>9.9000000000011266</c:v>
                </c:pt>
                <c:pt idx="2">
                  <c:v>10.90000000000124</c:v>
                </c:pt>
                <c:pt idx="3">
                  <c:v>11.800000000001342</c:v>
                </c:pt>
                <c:pt idx="4">
                  <c:v>12.400000000001411</c:v>
                </c:pt>
                <c:pt idx="5">
                  <c:v>12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7103488"/>
        <c:axId val="57105024"/>
      </c:barChart>
      <c:catAx>
        <c:axId val="57103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1718">
            <a:solidFill>
              <a:srgbClr val="808080"/>
            </a:solidFill>
            <a:prstDash val="solid"/>
          </a:ln>
        </c:spPr>
        <c:crossAx val="57105024"/>
        <c:crossesAt val="8"/>
        <c:auto val="1"/>
        <c:lblAlgn val="ctr"/>
        <c:lblOffset val="100"/>
        <c:tickLblSkip val="1"/>
        <c:tickMarkSkip val="1"/>
        <c:noMultiLvlLbl val="0"/>
      </c:catAx>
      <c:valAx>
        <c:axId val="57105024"/>
        <c:scaling>
          <c:orientation val="minMax"/>
          <c:max val="14"/>
          <c:min val="8"/>
        </c:scaling>
        <c:delete val="0"/>
        <c:axPos val="l"/>
        <c:numFmt formatCode="&quot;&quot;#\ ##0&quot;&quot;;&quot;&quot;\-&quot;&quot;#\ ##0&quot;&quot;" sourceLinked="0"/>
        <c:majorTickMark val="out"/>
        <c:minorTickMark val="none"/>
        <c:tickLblPos val="nextTo"/>
        <c:spPr>
          <a:ln w="11718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923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57103488"/>
        <c:crosses val="autoZero"/>
        <c:crossBetween val="between"/>
        <c:majorUnit val="2"/>
      </c:valAx>
      <c:spPr>
        <a:noFill/>
        <a:ln w="2343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rgbClr val="FF9966"/>
            </a:solidFill>
          </c:spPr>
          <c:invertIfNegative val="0"/>
          <c:dLbls>
            <c:dLbl>
              <c:idx val="0"/>
              <c:layout>
                <c:manualLayout>
                  <c:x val="3.2738729862280422E-2"/>
                  <c:y val="3.7532498802675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</c:f>
              <c:strCache>
                <c:ptCount val="1"/>
                <c:pt idx="0">
                  <c:v>Кардиохирургия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8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FF9966"/>
            </a:solidFill>
          </c:spPr>
          <c:invertIfNegative val="0"/>
          <c:dLbls>
            <c:dLbl>
              <c:idx val="0"/>
              <c:layout>
                <c:manualLayout>
                  <c:x val="3.4441849731960066E-2"/>
                  <c:y val="0.1343749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2">
                  <a:lumMod val="20000"/>
                  <a:lumOff val="80000"/>
                </a:schemeClr>
              </a:solidFill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Кардиохирургия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7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62338944"/>
        <c:axId val="62366464"/>
        <c:axId val="61799936"/>
      </c:bar3DChart>
      <c:catAx>
        <c:axId val="623389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rgbClr val="C00000"/>
                </a:solidFill>
              </a:defRPr>
            </a:pPr>
            <a:endParaRPr lang="ru-RU"/>
          </a:p>
        </c:txPr>
        <c:crossAx val="62366464"/>
        <c:crosses val="autoZero"/>
        <c:auto val="1"/>
        <c:lblAlgn val="ctr"/>
        <c:lblOffset val="100"/>
        <c:noMultiLvlLbl val="0"/>
      </c:catAx>
      <c:valAx>
        <c:axId val="623664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62338944"/>
        <c:crosses val="autoZero"/>
        <c:crossBetween val="between"/>
      </c:valAx>
      <c:serAx>
        <c:axId val="617999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62366464"/>
        <c:crosses val="autoZero"/>
      </c:ser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43497757847533"/>
          <c:y val="6.6037735849056603E-2"/>
          <c:w val="0.81165919282511212"/>
          <c:h val="0.8742138364779874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""#,##0.0"";""\-""#,##0.0""</c:formatCode>
                <c:ptCount val="6"/>
                <c:pt idx="0">
                  <c:v>8.0000000000009095</c:v>
                </c:pt>
                <c:pt idx="1">
                  <c:v>8.2000000000009319</c:v>
                </c:pt>
                <c:pt idx="2">
                  <c:v>7.8000000000008862</c:v>
                </c:pt>
                <c:pt idx="3">
                  <c:v>6.0000000000006821</c:v>
                </c:pt>
                <c:pt idx="4">
                  <c:v>5.9000000000006709</c:v>
                </c:pt>
                <c:pt idx="5">
                  <c:v>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7063680"/>
        <c:axId val="57069568"/>
      </c:barChart>
      <c:catAx>
        <c:axId val="57063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57069568"/>
        <c:crossesAt val="4"/>
        <c:auto val="1"/>
        <c:lblAlgn val="ctr"/>
        <c:lblOffset val="100"/>
        <c:tickLblSkip val="1"/>
        <c:tickMarkSkip val="1"/>
        <c:noMultiLvlLbl val="0"/>
      </c:catAx>
      <c:valAx>
        <c:axId val="57069568"/>
        <c:scaling>
          <c:orientation val="minMax"/>
          <c:max val="10"/>
          <c:min val="4"/>
        </c:scaling>
        <c:delete val="0"/>
        <c:axPos val="l"/>
        <c:numFmt formatCode="&quot;&quot;#\ ##0&quot;&quot;;&quot;&quot;\-&quot;&quot;#\ ##0&quot;&quot;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ru-RU"/>
          </a:p>
        </c:txPr>
        <c:crossAx val="57063680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43497757847533"/>
          <c:y val="6.6037735849056603E-2"/>
          <c:w val="0.81165919282511212"/>
          <c:h val="0.8742138364779874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3.800000000001569</c:v>
                </c:pt>
                <c:pt idx="1">
                  <c:v>13.100000000001488</c:v>
                </c:pt>
                <c:pt idx="2">
                  <c:v>13.000000000001478</c:v>
                </c:pt>
                <c:pt idx="3">
                  <c:v>13.000000000001478</c:v>
                </c:pt>
                <c:pt idx="4">
                  <c:v>12.700000000001445</c:v>
                </c:pt>
                <c:pt idx="5">
                  <c:v>1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7080832"/>
        <c:axId val="60285696"/>
      </c:barChart>
      <c:catAx>
        <c:axId val="57080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60285696"/>
        <c:crossesAt val="10"/>
        <c:auto val="1"/>
        <c:lblAlgn val="ctr"/>
        <c:lblOffset val="100"/>
        <c:tickLblSkip val="1"/>
        <c:tickMarkSkip val="1"/>
        <c:noMultiLvlLbl val="0"/>
      </c:catAx>
      <c:valAx>
        <c:axId val="60285696"/>
        <c:scaling>
          <c:orientation val="minMax"/>
          <c:max val="16"/>
          <c:min val="10"/>
        </c:scaling>
        <c:delete val="0"/>
        <c:axPos val="l"/>
        <c:numFmt formatCode="&quot;&quot;#\ ##0&quot;&quot;;&quot;&quot;\-&quot;&quot;#\ ##0&quot;&quot;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ru-RU"/>
          </a:p>
        </c:txPr>
        <c:crossAx val="57080832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509978854808483E-2"/>
          <c:y val="2.5195613185836494E-2"/>
          <c:w val="0.92529484428870379"/>
          <c:h val="0.94960877362832696"/>
        </c:manualLayout>
      </c:layout>
      <c:area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57150">
              <a:noFill/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cat>
            <c:numRef>
              <c:f>Лист1!$A$2:$A$19</c:f>
              <c:numCache>
                <c:formatCode>General</c:formatCode>
                <c:ptCount val="18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</c:numCache>
            </c:num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16.2</c:v>
                </c:pt>
                <c:pt idx="1">
                  <c:v>20.5</c:v>
                </c:pt>
                <c:pt idx="2">
                  <c:v>7</c:v>
                </c:pt>
                <c:pt idx="3">
                  <c:v>6.2</c:v>
                </c:pt>
                <c:pt idx="4">
                  <c:v>5.4</c:v>
                </c:pt>
                <c:pt idx="5">
                  <c:v>-3.8</c:v>
                </c:pt>
                <c:pt idx="6">
                  <c:v>-3.8</c:v>
                </c:pt>
                <c:pt idx="7">
                  <c:v>-3.6</c:v>
                </c:pt>
                <c:pt idx="8">
                  <c:v>-3.6</c:v>
                </c:pt>
                <c:pt idx="9">
                  <c:v>-3.3</c:v>
                </c:pt>
                <c:pt idx="10">
                  <c:v>-4</c:v>
                </c:pt>
                <c:pt idx="11">
                  <c:v>-3.2</c:v>
                </c:pt>
                <c:pt idx="12">
                  <c:v>-2.1</c:v>
                </c:pt>
                <c:pt idx="13">
                  <c:v>-1.2</c:v>
                </c:pt>
                <c:pt idx="14">
                  <c:v>-0.4</c:v>
                </c:pt>
                <c:pt idx="15">
                  <c:v>-0.2</c:v>
                </c:pt>
                <c:pt idx="16">
                  <c:v>0.9</c:v>
                </c:pt>
                <c:pt idx="17" formatCode="d\-mmm">
                  <c:v>2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28575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cat>
            <c:numRef>
              <c:f>Лист1!$A$2:$A$19</c:f>
              <c:numCache>
                <c:formatCode>General</c:formatCode>
                <c:ptCount val="18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</c:numCache>
            </c:numRef>
          </c:cat>
          <c:val>
            <c:numRef>
              <c:f>Лист1!$C$2:$C$19</c:f>
              <c:numCache>
                <c:formatCode>General</c:formatCode>
                <c:ptCount val="18"/>
                <c:pt idx="0">
                  <c:v>16.899999999999999</c:v>
                </c:pt>
                <c:pt idx="1">
                  <c:v>15.8</c:v>
                </c:pt>
                <c:pt idx="2">
                  <c:v>5.9</c:v>
                </c:pt>
                <c:pt idx="3">
                  <c:v>4.9000000000000004</c:v>
                </c:pt>
                <c:pt idx="4">
                  <c:v>2.2999999999999998</c:v>
                </c:pt>
                <c:pt idx="5">
                  <c:v>-6.7</c:v>
                </c:pt>
                <c:pt idx="6">
                  <c:v>-6.5</c:v>
                </c:pt>
                <c:pt idx="7">
                  <c:v>-6.5</c:v>
                </c:pt>
                <c:pt idx="8">
                  <c:v>-6.1</c:v>
                </c:pt>
                <c:pt idx="9">
                  <c:v>-5.6</c:v>
                </c:pt>
                <c:pt idx="10">
                  <c:v>-5.9</c:v>
                </c:pt>
                <c:pt idx="11">
                  <c:v>-4.8</c:v>
                </c:pt>
                <c:pt idx="12">
                  <c:v>-3.3</c:v>
                </c:pt>
                <c:pt idx="13">
                  <c:v>-2.5</c:v>
                </c:pt>
                <c:pt idx="14">
                  <c:v>-1.8</c:v>
                </c:pt>
                <c:pt idx="15">
                  <c:v>-1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707584"/>
        <c:axId val="60709120"/>
      </c:areaChart>
      <c:catAx>
        <c:axId val="60707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ru-RU"/>
          </a:p>
        </c:txPr>
        <c:crossAx val="60709120"/>
        <c:crosses val="autoZero"/>
        <c:auto val="1"/>
        <c:lblAlgn val="ctr"/>
        <c:lblOffset val="100"/>
        <c:noMultiLvlLbl val="0"/>
      </c:catAx>
      <c:valAx>
        <c:axId val="607091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070758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128085824378515E-2"/>
          <c:y val="6.4864412154977513E-2"/>
          <c:w val="0.90079907826150774"/>
          <c:h val="0.74102898232608994"/>
        </c:manualLayout>
      </c:layout>
      <c:areaChart>
        <c:grouping val="standard"/>
        <c:varyColors val="0"/>
        <c:ser>
          <c:idx val="0"/>
          <c:order val="0"/>
          <c:tx>
            <c:strRef>
              <c:f>Sheet1!$A$2:$B$2</c:f>
              <c:strCache>
                <c:ptCount val="1"/>
                <c:pt idx="0">
                  <c:v>Динамика оказанной ВМП (кол - во чел.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90500" h="38100"/>
            </a:sp3d>
          </c:spPr>
          <c:cat>
            <c:strRef>
              <c:f>Sheet1!$C$1:$E$1</c:f>
              <c:strCache>
                <c:ptCount val="3"/>
                <c:pt idx="0">
                  <c:v>2008 г.</c:v>
                </c:pt>
                <c:pt idx="1">
                  <c:v>2009 г.</c:v>
                </c:pt>
                <c:pt idx="2">
                  <c:v>2012</c:v>
                </c:pt>
              </c:strCache>
            </c:strRef>
          </c:cat>
          <c:val>
            <c:numRef>
              <c:f>Sheet1!$C$2:$E$2</c:f>
              <c:numCache>
                <c:formatCode>General</c:formatCode>
                <c:ptCount val="3"/>
                <c:pt idx="0">
                  <c:v>3262</c:v>
                </c:pt>
                <c:pt idx="1">
                  <c:v>4913</c:v>
                </c:pt>
                <c:pt idx="2" formatCode="#,##0">
                  <c:v>54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856960"/>
        <c:axId val="61096320"/>
      </c:areaChart>
      <c:catAx>
        <c:axId val="60856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/>
            </a:pPr>
            <a:endParaRPr lang="ru-RU"/>
          </a:p>
        </c:txPr>
        <c:crossAx val="6109632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61096320"/>
        <c:scaling>
          <c:orientation val="minMax"/>
          <c:max val="5500"/>
          <c:min val="300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60856960"/>
        <c:crosses val="autoZero"/>
        <c:crossBetween val="midCat"/>
        <c:majorUnit val="1000"/>
      </c:valAx>
      <c:spPr>
        <a:noFill/>
        <a:ln w="25406">
          <a:noFill/>
        </a:ln>
      </c:spPr>
    </c:plotArea>
    <c:plotVisOnly val="1"/>
    <c:dispBlanksAs val="zero"/>
    <c:showDLblsOverMax val="0"/>
  </c:chart>
  <c:txPr>
    <a:bodyPr/>
    <a:lstStyle/>
    <a:p>
      <a:pPr>
        <a:defRPr sz="1131"/>
      </a:pPr>
      <a:endParaRPr lang="ru-RU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dLbls>
            <c:dLbl>
              <c:idx val="0"/>
              <c:delete val="1"/>
            </c:dLbl>
            <c:dLbl>
              <c:idx val="1"/>
              <c:layout>
                <c:manualLayout>
                  <c:x val="-6.586790735756627E-3"/>
                  <c:y val="-0.432936462113376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7823876476755026E-3"/>
                  <c:y val="-0.429036133625868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0.386132520263281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0977984559594377E-2"/>
                  <c:y val="-0.36663087782574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3173581471513254E-2"/>
                  <c:y val="-0.33932857841318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1955969119188757E-3"/>
                  <c:y val="-0.327627592950663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3911938238377513E-3"/>
                  <c:y val="-0.288624308075584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8.2032228977142081E-3"/>
                  <c:y val="-0.20635433232390318"/>
                </c:manualLayout>
              </c:layout>
              <c:tx>
                <c:rich>
                  <a:bodyPr/>
                  <a:lstStyle/>
                  <a:p>
                    <a:r>
                      <a:rPr lang="tt-RU" dirty="0" smtClean="0"/>
                      <a:t>89</a:t>
                    </a:r>
                    <a:r>
                      <a:rPr lang="ru-RU" dirty="0" smtClean="0"/>
                      <a:t>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3.3</c:v>
                </c:pt>
                <c:pt idx="1">
                  <c:v>231.5</c:v>
                </c:pt>
                <c:pt idx="2">
                  <c:v>220.2</c:v>
                </c:pt>
                <c:pt idx="3">
                  <c:v>194.9</c:v>
                </c:pt>
                <c:pt idx="4">
                  <c:v>180.5</c:v>
                </c:pt>
                <c:pt idx="5">
                  <c:v>169.4</c:v>
                </c:pt>
                <c:pt idx="6">
                  <c:v>165.3</c:v>
                </c:pt>
                <c:pt idx="7">
                  <c:v>135.30000000000001</c:v>
                </c:pt>
                <c:pt idx="8">
                  <c:v>9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678336"/>
        <c:axId val="61679872"/>
      </c:areaChart>
      <c:catAx>
        <c:axId val="61678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1679872"/>
        <c:crosses val="autoZero"/>
        <c:auto val="1"/>
        <c:lblAlgn val="ctr"/>
        <c:lblOffset val="100"/>
        <c:noMultiLvlLbl val="0"/>
      </c:catAx>
      <c:valAx>
        <c:axId val="616798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1678336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dLbls>
            <c:dLbl>
              <c:idx val="0"/>
              <c:layout>
                <c:manualLayout>
                  <c:x val="2.8542759854945383E-2"/>
                  <c:y val="-0.429036133625868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4851889841697177E-3"/>
                  <c:y val="-0.291067761806981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7822929235252551E-3"/>
                  <c:y val="-0.325859081926325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4.1016114488571041E-3"/>
                  <c:y val="-0.295852399783084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7748854778409634E-3"/>
                  <c:y val="-0.28924845183474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3.2328449293747724E-3"/>
                  <c:y val="-0.313534183529430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1955969119188757E-3"/>
                  <c:y val="-0.327627592950663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6696142289099661E-2"/>
                  <c:y val="-0.340212995854633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1.6406445795428416E-2"/>
                  <c:y val="-0.361120081566830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21.2</c:v>
                </c:pt>
                <c:pt idx="1">
                  <c:v>352.9</c:v>
                </c:pt>
                <c:pt idx="2">
                  <c:v>354</c:v>
                </c:pt>
                <c:pt idx="3">
                  <c:v>339.6</c:v>
                </c:pt>
                <c:pt idx="4">
                  <c:v>355</c:v>
                </c:pt>
                <c:pt idx="5">
                  <c:v>375</c:v>
                </c:pt>
                <c:pt idx="6">
                  <c:v>413.2</c:v>
                </c:pt>
                <c:pt idx="7">
                  <c:v>492.9</c:v>
                </c:pt>
                <c:pt idx="8">
                  <c:v>505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708160"/>
        <c:axId val="61709696"/>
      </c:areaChart>
      <c:catAx>
        <c:axId val="617081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1709696"/>
        <c:crosses val="autoZero"/>
        <c:auto val="1"/>
        <c:lblAlgn val="ctr"/>
        <c:lblOffset val="100"/>
        <c:noMultiLvlLbl val="0"/>
      </c:catAx>
      <c:valAx>
        <c:axId val="617096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1708160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hPercent val="82"/>
      <c:rotY val="20"/>
      <c:depthPercent val="100"/>
      <c:rAngAx val="1"/>
    </c:view3D>
    <c:floor>
      <c:thickness val="0"/>
      <c:spPr>
        <a:noFill/>
        <a:ln w="3175">
          <a:solidFill>
            <a:schemeClr val="tx1"/>
          </a:solidFill>
          <a:prstDash val="solid"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/>
      <c:bar3D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24575">
              <a:noFill/>
              <a:prstDash val="solid"/>
            </a:ln>
          </c:spPr>
          <c:invertIfNegative val="0"/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G$1</c:f>
              <c:strCache>
                <c:ptCount val="4"/>
                <c:pt idx="0">
                  <c:v>Клапаны</c:v>
                </c:pt>
                <c:pt idx="1">
                  <c:v>ЭКС</c:v>
                </c:pt>
                <c:pt idx="2">
                  <c:v>Стент</c:v>
                </c:pt>
                <c:pt idx="3">
                  <c:v>АКШ 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4"/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потребность</c:v>
                </c:pt>
              </c:strCache>
            </c:strRef>
          </c:tx>
          <c:spPr>
            <a:solidFill>
              <a:srgbClr val="E68C6C"/>
            </a:solidFill>
            <a:ln w="24575">
              <a:noFill/>
              <a:prstDash val="solid"/>
            </a:ln>
          </c:spPr>
          <c:invertIfNegative val="0"/>
          <c:cat>
            <c:strRef>
              <c:f>Sheet1!$B$1:$G$1</c:f>
              <c:strCache>
                <c:ptCount val="4"/>
                <c:pt idx="0">
                  <c:v>Клапаны</c:v>
                </c:pt>
                <c:pt idx="1">
                  <c:v>ЭКС</c:v>
                </c:pt>
                <c:pt idx="2">
                  <c:v>Стент</c:v>
                </c:pt>
                <c:pt idx="3">
                  <c:v>АКШ </c:v>
                </c:pt>
              </c:strCache>
            </c:strRef>
          </c:cat>
          <c:val>
            <c:numRef>
              <c:f>Sheet1!$B$3:$G$3</c:f>
              <c:numCache>
                <c:formatCode>General</c:formatCode>
                <c:ptCount val="4"/>
                <c:pt idx="0">
                  <c:v>520</c:v>
                </c:pt>
                <c:pt idx="1">
                  <c:v>1500</c:v>
                </c:pt>
                <c:pt idx="2">
                  <c:v>4000</c:v>
                </c:pt>
                <c:pt idx="3">
                  <c:v>210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 w="24575">
              <a:noFill/>
              <a:prstDash val="solid"/>
            </a:ln>
          </c:spPr>
          <c:invertIfNegative val="0"/>
          <c:cat>
            <c:strRef>
              <c:f>Sheet1!$B$1:$G$1</c:f>
              <c:strCache>
                <c:ptCount val="4"/>
                <c:pt idx="0">
                  <c:v>Клапаны</c:v>
                </c:pt>
                <c:pt idx="1">
                  <c:v>ЭКС</c:v>
                </c:pt>
                <c:pt idx="2">
                  <c:v>Стент</c:v>
                </c:pt>
                <c:pt idx="3">
                  <c:v>АКШ </c:v>
                </c:pt>
              </c:strCache>
            </c:strRef>
          </c:cat>
          <c:val>
            <c:numRef>
              <c:f>Sheet1!$B$4:$G$4</c:f>
              <c:numCache>
                <c:formatCode>General</c:formatCode>
                <c:ptCount val="4"/>
                <c:pt idx="0">
                  <c:v>456</c:v>
                </c:pt>
                <c:pt idx="1">
                  <c:v>614</c:v>
                </c:pt>
                <c:pt idx="2">
                  <c:v>2246</c:v>
                </c:pt>
                <c:pt idx="3">
                  <c:v>10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cylinder"/>
        <c:axId val="61788544"/>
        <c:axId val="61790080"/>
        <c:axId val="0"/>
      </c:bar3DChart>
      <c:catAx>
        <c:axId val="617885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ln w="614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596" b="0" i="0" u="none" strike="noStrike" baseline="0">
                <a:solidFill>
                  <a:srgbClr val="002060"/>
                </a:solidFill>
                <a:latin typeface="Arial Narrow" pitchFamily="34" charset="0"/>
                <a:ea typeface="Arial"/>
                <a:cs typeface="Arial"/>
              </a:defRPr>
            </a:pPr>
            <a:endParaRPr lang="ru-RU"/>
          </a:p>
        </c:txPr>
        <c:crossAx val="6179008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61790080"/>
        <c:scaling>
          <c:orientation val="minMax"/>
        </c:scaling>
        <c:delete val="1"/>
        <c:axPos val="b"/>
        <c:majorGridlines>
          <c:spPr>
            <a:ln w="24575">
              <a:solidFill>
                <a:srgbClr val="FFFFFF"/>
              </a:solidFill>
              <a:prstDash val="solid"/>
            </a:ln>
          </c:spPr>
        </c:majorGridlines>
        <c:numFmt formatCode="0%" sourceLinked="1"/>
        <c:majorTickMark val="out"/>
        <c:minorTickMark val="none"/>
        <c:tickLblPos val="nextTo"/>
        <c:crossAx val="61788544"/>
        <c:crosses val="autoZero"/>
        <c:crossBetween val="between"/>
      </c:valAx>
      <c:spPr>
        <a:noFill/>
        <a:ln w="4915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70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5268970114431727"/>
          <c:y val="0.1450083946494431"/>
          <c:w val="0.60726257065879841"/>
          <c:h val="0.76014074803149612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rgbClr val="FF9966"/>
            </a:solidFill>
          </c:spPr>
          <c:invertIfNegative val="0"/>
          <c:dLbls>
            <c:dLbl>
              <c:idx val="0"/>
              <c:layout>
                <c:manualLayout>
                  <c:x val="3.0557438062437572E-2"/>
                  <c:y val="4.32054945962311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</c:f>
              <c:strCache>
                <c:ptCount val="1"/>
                <c:pt idx="0">
                  <c:v>АКШ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1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FF9966"/>
            </a:solidFill>
          </c:spPr>
          <c:invertIfNegative val="0"/>
          <c:dLbls>
            <c:dLbl>
              <c:idx val="0"/>
              <c:layout>
                <c:manualLayout>
                  <c:x val="3.4441849731960066E-2"/>
                  <c:y val="0.13437499999999999"/>
                </c:manualLayout>
              </c:layout>
              <c:spPr>
                <a:solidFill>
                  <a:schemeClr val="bg2">
                    <a:lumMod val="20000"/>
                    <a:lumOff val="80000"/>
                  </a:schemeClr>
                </a:solidFill>
              </c:spPr>
              <c:txPr>
                <a:bodyPr/>
                <a:lstStyle/>
                <a:p>
                  <a:pPr>
                    <a:defRPr sz="12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АКШ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61934592"/>
        <c:axId val="61936384"/>
        <c:axId val="61798144"/>
      </c:bar3DChart>
      <c:catAx>
        <c:axId val="619345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rgbClr val="C00000"/>
                </a:solidFill>
              </a:defRPr>
            </a:pPr>
            <a:endParaRPr lang="ru-RU"/>
          </a:p>
        </c:txPr>
        <c:crossAx val="61936384"/>
        <c:crosses val="autoZero"/>
        <c:auto val="1"/>
        <c:lblAlgn val="ctr"/>
        <c:lblOffset val="100"/>
        <c:noMultiLvlLbl val="0"/>
      </c:catAx>
      <c:valAx>
        <c:axId val="619363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61934592"/>
        <c:crosses val="autoZero"/>
        <c:crossBetween val="between"/>
      </c:valAx>
      <c:serAx>
        <c:axId val="617981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61936384"/>
        <c:crosses val="autoZero"/>
      </c:ser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4262</cdr:x>
      <cdr:y>0.58442</cdr:y>
    </cdr:from>
    <cdr:to>
      <cdr:x>0.9918</cdr:x>
      <cdr:y>0.6363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280920" y="3240360"/>
          <a:ext cx="43204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2.3</a:t>
          </a:r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3478</cdr:x>
      <cdr:y>0.54611</cdr:y>
    </cdr:from>
    <cdr:to>
      <cdr:x>0.44035</cdr:x>
      <cdr:y>0.5677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571870" y="1804987"/>
          <a:ext cx="45719" cy="714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577CC-86D4-49C6-97AF-47314EC82A2D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175DBB-0378-4ABE-9D2E-A5885AA2F98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5680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60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2507590-BBDB-4586-987F-305C492847E5}" type="slidenum">
              <a:rPr lang="ru-RU" smtClean="0"/>
              <a:pPr eaLnBrk="1" hangingPunct="1"/>
              <a:t>10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 smtClean="0"/>
              <a:t>Ок.</a:t>
            </a:r>
          </a:p>
          <a:p>
            <a:pPr eaLnBrk="1" hangingPunct="1"/>
            <a:endParaRPr lang="ru-RU" dirty="0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D11BD58-2340-4886-A16F-0161B068B81E}" type="slidenum">
              <a:rPr lang="ru-RU" sz="1200" smtClean="0"/>
              <a:pPr eaLnBrk="1" hangingPunct="1"/>
              <a:t>11</a:t>
            </a:fld>
            <a:endParaRPr lang="ru-RU" sz="120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C706769-3FA8-473E-A49A-91B202927215}" type="slidenum">
              <a:rPr lang="ru-RU" smtClean="0"/>
              <a:pPr eaLnBrk="1" hangingPunct="1"/>
              <a:t>28</a:t>
            </a:fld>
            <a:endParaRPr lang="ru-RU" smtClean="0"/>
          </a:p>
        </p:txBody>
      </p:sp>
      <p:sp>
        <p:nvSpPr>
          <p:cNvPr id="31747" name="Rectangle 7"/>
          <p:cNvSpPr txBox="1">
            <a:spLocks noGrp="1" noChangeArrowheads="1"/>
          </p:cNvSpPr>
          <p:nvPr/>
        </p:nvSpPr>
        <p:spPr bwMode="auto">
          <a:xfrm>
            <a:off x="3883852" y="8684900"/>
            <a:ext cx="2972547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09D3EF86-A9BE-450F-BDF8-E82E52B29FB0}" type="slidenum">
              <a:rPr lang="de-DE" sz="1200">
                <a:cs typeface="Arial" pitchFamily="34" charset="0"/>
              </a:rPr>
              <a:pPr algn="r" eaLnBrk="1" hangingPunct="1"/>
              <a:t>28</a:t>
            </a:fld>
            <a:endParaRPr lang="de-DE" sz="1200">
              <a:cs typeface="Arial" pitchFamily="34" charset="0"/>
            </a:endParaRPr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17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3913"/>
            <a:ext cx="5028986" cy="41143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noProof="1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E3B497-0E38-48B5-9BA0-7B9DC331328E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7010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216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3319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6389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753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7186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3162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338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9075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051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1302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61320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096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14DB30-C62C-4F1B-8149-5CF51FEE90F8}" type="datetimeFigureOut">
              <a:rPr lang="ru-RU" smtClean="0"/>
              <a:t>2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84FA42-92D4-4393-8B81-6BEE63147B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984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13" Type="http://schemas.openxmlformats.org/officeDocument/2006/relationships/chart" Target="../charts/chart7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chart" Target="../charts/char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.vml"/><Relationship Id="rId6" Type="http://schemas.microsoft.com/office/2007/relationships/hdphoto" Target="../media/hdphoto2.wdp"/><Relationship Id="rId11" Type="http://schemas.openxmlformats.org/officeDocument/2006/relationships/image" Target="../media/image12.png"/><Relationship Id="rId5" Type="http://schemas.openxmlformats.org/officeDocument/2006/relationships/image" Target="../media/image13.png"/><Relationship Id="rId10" Type="http://schemas.openxmlformats.org/officeDocument/2006/relationships/oleObject" Target="../embeddings/_____Microsoft_Excel_97-20031.xls"/><Relationship Id="rId4" Type="http://schemas.openxmlformats.org/officeDocument/2006/relationships/notesSlide" Target="../notesSlides/notesSlide2.xml"/><Relationship Id="rId9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0.xml"/><Relationship Id="rId5" Type="http://schemas.openxmlformats.org/officeDocument/2006/relationships/image" Target="../media/image15.png"/><Relationship Id="rId4" Type="http://schemas.openxmlformats.org/officeDocument/2006/relationships/hyperlink" Target="http://www.google.ru/url?sa=i&amp;rct=j&amp;q=&amp;source=images&amp;cd=&amp;cad=rja&amp;docid=VFK-375CvtnrFM&amp;tbnid=FJPt-2v3l5QECM:&amp;ved=0CAUQjRw&amp;url=http://pixabay.com/ru/%D1%81%D0%B8%D0%BC%D0%B2%D0%BE%D0%BB-%D1%84%D0%BE%D1%80%D0%BC%D1%8B-%D0%BD%D0%B0%D0%BF%D1%80%D0%B0%D0%B2%D0%BB%D0%B5%D0%BD%D0%B8%D0%B5-%D1%81%D1%82%D1%80%D0%B5%D0%BB%D0%BA%D0%B8-25899/&amp;ei=kAW7UbCkEYXR4QTOr4GgDQ&amp;bvm=bv.47883778,d.bGE&amp;psig=AFQjCNErzqEE1E7fUQnEz7eBt8giXOgW-w&amp;ust=1371297484040142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robka.ru/imgs/b/22204.jpg" TargetMode="External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5" Type="http://schemas.microsoft.com/office/2007/relationships/hdphoto" Target="../media/hdphoto5.wdp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://ns1.ip-ip.org/biography/genri-ford.htm" TargetMode="Externa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microsoft.com/office/2007/relationships/hdphoto" Target="../media/hdphoto6.wdp"/><Relationship Id="rId7" Type="http://schemas.openxmlformats.org/officeDocument/2006/relationships/image" Target="../media/image45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10" Type="http://schemas.openxmlformats.org/officeDocument/2006/relationships/image" Target="../media/image47.jpeg"/><Relationship Id="rId4" Type="http://schemas.openxmlformats.org/officeDocument/2006/relationships/image" Target="../media/image42.jpeg"/><Relationship Id="rId9" Type="http://schemas.openxmlformats.org/officeDocument/2006/relationships/image" Target="../media/image46.jpe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w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wmf"/><Relationship Id="rId2" Type="http://schemas.openxmlformats.org/officeDocument/2006/relationships/image" Target="../media/image58.wmf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2.png"/><Relationship Id="rId7" Type="http://schemas.microsoft.com/office/2007/relationships/hdphoto" Target="../media/hdphoto10.wdp"/><Relationship Id="rId12" Type="http://schemas.microsoft.com/office/2007/relationships/hdphoto" Target="../media/hdphoto12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11" Type="http://schemas.openxmlformats.org/officeDocument/2006/relationships/image" Target="../media/image67.png"/><Relationship Id="rId5" Type="http://schemas.openxmlformats.org/officeDocument/2006/relationships/image" Target="../media/image63.jpeg"/><Relationship Id="rId10" Type="http://schemas.microsoft.com/office/2007/relationships/hdphoto" Target="../media/hdphoto11.wdp"/><Relationship Id="rId4" Type="http://schemas.microsoft.com/office/2007/relationships/hdphoto" Target="../media/hdphoto9.wdp"/><Relationship Id="rId9" Type="http://schemas.openxmlformats.org/officeDocument/2006/relationships/image" Target="../media/image6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hyperlink" Target="http://www.happylots.com/product_info.php?products_id=22438" TargetMode="External"/><Relationship Id="rId1" Type="http://schemas.openxmlformats.org/officeDocument/2006/relationships/slideLayout" Target="../slideLayouts/slideLayout2.xml"/><Relationship Id="rId5" Type="http://schemas.microsoft.com/office/2007/relationships/hdphoto" Target="../media/hdphoto13.wdp"/><Relationship Id="rId4" Type="http://schemas.openxmlformats.org/officeDocument/2006/relationships/image" Target="../media/image69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5.wdp"/><Relationship Id="rId4" Type="http://schemas.openxmlformats.org/officeDocument/2006/relationships/image" Target="../media/image7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hyperlink" Target="//upload.wikimedia.org/wikipedia/commons/b/be/Kazan-universiade-opening-arena1.jpg" TargetMode="Externa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//upload.wikimedia.org/wikipedia/commons/6/6c/Map_of_Russia_-_Republic_of_Tatarstan_(2008-03).svg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chart" Target="../charts/chart3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chart" Target="../charts/chart1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chart" Target="../charts/chart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hq-wallpapers.ru/wallpapers/hq-wallpapers_ru_computer_713_1920x1200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624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95536" y="1628800"/>
            <a:ext cx="842493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ru-RU" sz="3200" b="1" dirty="0">
                <a:solidFill>
                  <a:schemeClr val="bg1">
                    <a:lumMod val="75000"/>
                  </a:schemeClr>
                </a:solidFill>
              </a:rPr>
              <a:t>Принятие решений по оптимизации работы учреждений здравоохранения на основе </a:t>
            </a:r>
            <a:r>
              <a:rPr lang="ru-RU" sz="3200" b="1" dirty="0" smtClean="0">
                <a:solidFill>
                  <a:schemeClr val="bg1">
                    <a:lumMod val="75000"/>
                  </a:schemeClr>
                </a:solidFill>
              </a:rPr>
              <a:t>ОЦЕНКИ ТЕХНОЛОГИИ ЗДРАВООХРАНЕНИЯ</a:t>
            </a:r>
          </a:p>
          <a:p>
            <a:pPr algn="ctr"/>
            <a:r>
              <a:rPr lang="ru-RU" sz="3200" b="1" dirty="0" smtClean="0">
                <a:solidFill>
                  <a:schemeClr val="bg1">
                    <a:lumMod val="75000"/>
                  </a:schemeClr>
                </a:solidFill>
              </a:rPr>
              <a:t>     </a:t>
            </a:r>
            <a:r>
              <a:rPr lang="ru-RU" sz="3200" dirty="0" smtClean="0">
                <a:solidFill>
                  <a:schemeClr val="bg1">
                    <a:lumMod val="75000"/>
                  </a:schemeClr>
                </a:solidFill>
              </a:rPr>
              <a:t>(Опыт </a:t>
            </a:r>
            <a:r>
              <a:rPr lang="ru-RU" sz="3200" dirty="0">
                <a:solidFill>
                  <a:schemeClr val="bg1">
                    <a:lumMod val="75000"/>
                  </a:schemeClr>
                </a:solidFill>
              </a:rPr>
              <a:t>Республики </a:t>
            </a:r>
            <a:r>
              <a:rPr lang="ru-RU" sz="3200" dirty="0" smtClean="0">
                <a:solidFill>
                  <a:schemeClr val="bg1">
                    <a:lumMod val="75000"/>
                  </a:schemeClr>
                </a:solidFill>
              </a:rPr>
              <a:t>Татарстан)</a:t>
            </a:r>
            <a:endParaRPr lang="ru-RU" sz="3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43808" y="6021288"/>
            <a:ext cx="4680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75000"/>
                  </a:schemeClr>
                </a:solidFill>
              </a:rPr>
              <a:t>Министр - ВАФИН АДЕЛЬ ЮНУСОВИЧ</a:t>
            </a:r>
            <a:endParaRPr lang="ru-RU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2050" name="Picture 2" descr="C:\Users\Пользователь\Desktop\ФОТО\Лица1\ВАЮ\31-1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0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328" y="4434206"/>
            <a:ext cx="1625419" cy="243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2598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2411413" y="0"/>
            <a:ext cx="6732587" cy="9810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lt1"/>
              </a:solidFill>
              <a:latin typeface="Arial Narrow" pitchFamily="34" charset="0"/>
            </a:endParaRPr>
          </a:p>
        </p:txBody>
      </p:sp>
      <p:sp>
        <p:nvSpPr>
          <p:cNvPr id="9220" name="Rectangle 6"/>
          <p:cNvSpPr>
            <a:spLocks noChangeArrowheads="1"/>
          </p:cNvSpPr>
          <p:nvPr/>
        </p:nvSpPr>
        <p:spPr bwMode="auto">
          <a:xfrm>
            <a:off x="2155619" y="188640"/>
            <a:ext cx="6985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ЫСОКОТЕХНОЛОГИЧНАЯ МЕДИЦИНСКАЯ </a:t>
            </a:r>
          </a:p>
          <a:p>
            <a:pPr algn="ctr"/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ОМОЩЬ В РЕСПУБЛИКЕ ТАТАРСТАН</a:t>
            </a:r>
          </a:p>
        </p:txBody>
      </p:sp>
      <p:sp>
        <p:nvSpPr>
          <p:cNvPr id="9221" name="Rectangle 7"/>
          <p:cNvSpPr>
            <a:spLocks noChangeArrowheads="1"/>
          </p:cNvSpPr>
          <p:nvPr/>
        </p:nvSpPr>
        <p:spPr bwMode="auto">
          <a:xfrm>
            <a:off x="2339752" y="1772816"/>
            <a:ext cx="644420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 Республике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Татарстан оказывается 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более</a:t>
            </a:r>
          </a:p>
        </p:txBody>
      </p:sp>
      <p:sp>
        <p:nvSpPr>
          <p:cNvPr id="9222" name="Rectangle 8"/>
          <p:cNvSpPr>
            <a:spLocks noChangeArrowheads="1"/>
          </p:cNvSpPr>
          <p:nvPr/>
        </p:nvSpPr>
        <p:spPr bwMode="auto">
          <a:xfrm>
            <a:off x="4355976" y="2276872"/>
            <a:ext cx="2732088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9600" dirty="0">
                <a:solidFill>
                  <a:srgbClr val="990000"/>
                </a:solidFill>
                <a:latin typeface="Sylfaen" pitchFamily="18" charset="0"/>
              </a:rPr>
              <a:t>80% </a:t>
            </a:r>
          </a:p>
        </p:txBody>
      </p:sp>
      <p:sp>
        <p:nvSpPr>
          <p:cNvPr id="9223" name="Rectangle 9"/>
          <p:cNvSpPr>
            <a:spLocks noChangeArrowheads="1"/>
          </p:cNvSpPr>
          <p:nvPr/>
        </p:nvSpPr>
        <p:spPr bwMode="auto">
          <a:xfrm>
            <a:off x="2411760" y="4365104"/>
            <a:ext cx="648049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идов высокотехнологичной</a:t>
            </a:r>
          </a:p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медицинской помощи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о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26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филям,</a:t>
            </a:r>
          </a:p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утвержденных приказом №1629н</a:t>
            </a:r>
          </a:p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т 29.12.2012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г. Минздрава 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Российской Федерации</a:t>
            </a:r>
          </a:p>
        </p:txBody>
      </p:sp>
      <p:pic>
        <p:nvPicPr>
          <p:cNvPr id="9224" name="Picture 11" descr="000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1304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8754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1" descr="L:\МК\Headache.jp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005263"/>
            <a:ext cx="2170113" cy="285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6" name="Text Box 13"/>
          <p:cNvSpPr txBox="1">
            <a:spLocks noChangeArrowheads="1"/>
          </p:cNvSpPr>
          <p:nvPr/>
        </p:nvSpPr>
        <p:spPr bwMode="auto">
          <a:xfrm>
            <a:off x="565150" y="384845"/>
            <a:ext cx="71596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ОРГАНИЗАЦИЯ   СОСУДИСТЫХ   ЦЕНТРОВ</a:t>
            </a:r>
          </a:p>
        </p:txBody>
      </p:sp>
      <p:sp>
        <p:nvSpPr>
          <p:cNvPr id="23557" name="Номер слайда 2"/>
          <p:cNvSpPr txBox="1">
            <a:spLocks/>
          </p:cNvSpPr>
          <p:nvPr/>
        </p:nvSpPr>
        <p:spPr bwMode="auto">
          <a:xfrm>
            <a:off x="179388" y="6519863"/>
            <a:ext cx="5143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16B877-27A1-4B0F-9CE6-C222EAF15336}" type="slidenum">
              <a:rPr lang="ru-RU" sz="1400" b="1">
                <a:latin typeface="Calibri" pitchFamily="34" charset="0"/>
                <a:cs typeface="Arial" charset="0"/>
              </a:rPr>
              <a:pPr eaLnBrk="1" hangingPunct="1"/>
              <a:t>11</a:t>
            </a:fld>
            <a:endParaRPr lang="ru-RU" sz="1400" b="1">
              <a:latin typeface="Calibri" pitchFamily="34" charset="0"/>
              <a:cs typeface="Arial" charset="0"/>
            </a:endParaRPr>
          </a:p>
        </p:txBody>
      </p:sp>
      <p:pic>
        <p:nvPicPr>
          <p:cNvPr id="23558" name="Picture 2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3778250" cy="224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559" name="Группа 3"/>
          <p:cNvGrpSpPr>
            <a:grpSpLocks/>
          </p:cNvGrpSpPr>
          <p:nvPr/>
        </p:nvGrpSpPr>
        <p:grpSpPr bwMode="auto">
          <a:xfrm>
            <a:off x="5816635" y="1851025"/>
            <a:ext cx="3341616" cy="2247875"/>
            <a:chOff x="1716900" y="3720891"/>
            <a:chExt cx="3396532" cy="2896762"/>
          </a:xfrm>
        </p:grpSpPr>
        <p:graphicFrame>
          <p:nvGraphicFramePr>
            <p:cNvPr id="2" name="Объект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92667271"/>
                </p:ext>
              </p:extLst>
            </p:nvPr>
          </p:nvGraphicFramePr>
          <p:xfrm>
            <a:off x="1716900" y="3885802"/>
            <a:ext cx="3396532" cy="2731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33" name="TextBox 13"/>
            <p:cNvSpPr txBox="1">
              <a:spLocks noChangeArrowheads="1"/>
            </p:cNvSpPr>
            <p:nvPr/>
          </p:nvSpPr>
          <p:spPr bwMode="auto">
            <a:xfrm>
              <a:off x="1910495" y="3720891"/>
              <a:ext cx="2907687" cy="591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200" dirty="0" smtClean="0">
                  <a:latin typeface="+mj-lt"/>
                </a:rPr>
                <a:t>Пролечено </a:t>
              </a:r>
              <a:r>
                <a:rPr lang="ru-RU" sz="1200" dirty="0">
                  <a:latin typeface="+mj-lt"/>
                </a:rPr>
                <a:t>больных с ОНМК в с</a:t>
              </a:r>
              <a:r>
                <a:rPr lang="ru-RU" sz="1200" dirty="0" smtClean="0">
                  <a:latin typeface="+mj-lt"/>
                </a:rPr>
                <a:t>осудистых центрах</a:t>
              </a:r>
              <a:endParaRPr lang="ru-RU" sz="1200" dirty="0">
                <a:latin typeface="+mj-lt"/>
              </a:endParaRPr>
            </a:p>
          </p:txBody>
        </p:sp>
        <p:sp>
          <p:nvSpPr>
            <p:cNvPr id="34" name="Стрелка вниз 33"/>
            <p:cNvSpPr/>
            <p:nvPr/>
          </p:nvSpPr>
          <p:spPr>
            <a:xfrm rot="10800000">
              <a:off x="3444059" y="4687989"/>
              <a:ext cx="960086" cy="546218"/>
            </a:xfrm>
            <a:prstGeom prst="downArrow">
              <a:avLst>
                <a:gd name="adj1" fmla="val 74390"/>
                <a:gd name="adj2" fmla="val 50000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sz="1600" dirty="0"/>
            </a:p>
          </p:txBody>
        </p:sp>
        <p:sp>
          <p:nvSpPr>
            <p:cNvPr id="23578" name="TextBox 8"/>
            <p:cNvSpPr txBox="1">
              <a:spLocks noChangeArrowheads="1"/>
            </p:cNvSpPr>
            <p:nvPr/>
          </p:nvSpPr>
          <p:spPr bwMode="auto">
            <a:xfrm>
              <a:off x="3647492" y="4893781"/>
              <a:ext cx="742950" cy="396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sz="1400" b="1" dirty="0" smtClean="0">
                  <a:latin typeface="Calibri" pitchFamily="34" charset="0"/>
                  <a:cs typeface="Arial" charset="0"/>
                </a:rPr>
                <a:t>61,4%</a:t>
              </a:r>
              <a:endParaRPr lang="ru-RU" sz="1400" b="1" dirty="0">
                <a:latin typeface="Calibri" pitchFamily="34" charset="0"/>
                <a:cs typeface="Arial" charset="0"/>
              </a:endParaRPr>
            </a:p>
          </p:txBody>
        </p:sp>
      </p:grpSp>
      <p:sp>
        <p:nvSpPr>
          <p:cNvPr id="23560" name="Прямоугольник 2"/>
          <p:cNvSpPr>
            <a:spLocks noChangeArrowheads="1"/>
          </p:cNvSpPr>
          <p:nvPr/>
        </p:nvSpPr>
        <p:spPr bwMode="auto">
          <a:xfrm>
            <a:off x="6348413" y="981075"/>
            <a:ext cx="26543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dirty="0">
                <a:latin typeface="Tahoma" pitchFamily="34" charset="0"/>
                <a:cs typeface="Tahoma" pitchFamily="34" charset="0"/>
              </a:rPr>
              <a:t>Прикрепленное население к сосудистым центрам - около      </a:t>
            </a:r>
            <a:br>
              <a:rPr lang="ru-RU" sz="1400" dirty="0">
                <a:latin typeface="Tahoma" pitchFamily="34" charset="0"/>
                <a:cs typeface="Tahoma" pitchFamily="34" charset="0"/>
              </a:rPr>
            </a:br>
            <a:r>
              <a:rPr lang="ru-RU" sz="14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3 млн. человек.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348413" y="982663"/>
            <a:ext cx="0" cy="646112"/>
          </a:xfrm>
          <a:prstGeom prst="line">
            <a:avLst/>
          </a:prstGeom>
          <a:ln w="3175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Стрелка вниз 43"/>
          <p:cNvSpPr/>
          <p:nvPr/>
        </p:nvSpPr>
        <p:spPr bwMode="auto">
          <a:xfrm rot="10598677">
            <a:off x="3215386" y="5330438"/>
            <a:ext cx="1011238" cy="423863"/>
          </a:xfrm>
          <a:prstGeom prst="downArrow">
            <a:avLst>
              <a:gd name="adj1" fmla="val 74390"/>
              <a:gd name="adj2" fmla="val 50000"/>
            </a:avLst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600" dirty="0"/>
          </a:p>
        </p:txBody>
      </p:sp>
      <p:sp>
        <p:nvSpPr>
          <p:cNvPr id="23565" name="Прямоугольник 6"/>
          <p:cNvSpPr>
            <a:spLocks noChangeArrowheads="1"/>
          </p:cNvSpPr>
          <p:nvPr/>
        </p:nvSpPr>
        <p:spPr bwMode="auto">
          <a:xfrm>
            <a:off x="6444208" y="3068960"/>
            <a:ext cx="2376264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в период  6-часового «терапевтического окна»- </a:t>
            </a:r>
            <a:r>
              <a:rPr lang="ru-RU" sz="1200" dirty="0" smtClean="0">
                <a:solidFill>
                  <a:schemeClr val="bg1"/>
                </a:solidFill>
              </a:rPr>
              <a:t>49,9%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3489325" y="5430838"/>
            <a:ext cx="936625" cy="444500"/>
          </a:xfrm>
          <a:prstGeom prst="downArrow">
            <a:avLst>
              <a:gd name="adj1" fmla="val 74390"/>
              <a:gd name="adj2" fmla="val 5000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400" b="1" dirty="0" smtClean="0"/>
              <a:t>27,5%</a:t>
            </a:r>
            <a:endParaRPr lang="ru-RU" sz="1400" b="1" dirty="0"/>
          </a:p>
        </p:txBody>
      </p:sp>
      <p:sp>
        <p:nvSpPr>
          <p:cNvPr id="23568" name="Text Box 24"/>
          <p:cNvSpPr txBox="1">
            <a:spLocks noChangeArrowheads="1"/>
          </p:cNvSpPr>
          <p:nvPr/>
        </p:nvSpPr>
        <p:spPr bwMode="auto">
          <a:xfrm>
            <a:off x="1588" y="3284538"/>
            <a:ext cx="29146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4800" b="1" dirty="0" smtClean="0">
                <a:solidFill>
                  <a:srgbClr val="DCDCDC"/>
                </a:solidFill>
                <a:latin typeface="Calibri" pitchFamily="34" charset="0"/>
                <a:cs typeface="Arial" charset="0"/>
              </a:rPr>
              <a:t>2008-2012</a:t>
            </a:r>
            <a:endParaRPr lang="ru-RU" sz="4800" b="1" dirty="0">
              <a:solidFill>
                <a:srgbClr val="DCDCDC"/>
              </a:solidFill>
              <a:latin typeface="Calibri" pitchFamily="34" charset="0"/>
              <a:cs typeface="Arial" charset="0"/>
            </a:endParaRPr>
          </a:p>
        </p:txBody>
      </p:sp>
      <p:graphicFrame>
        <p:nvGraphicFramePr>
          <p:cNvPr id="23570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4984659"/>
              </p:ext>
            </p:extLst>
          </p:nvPr>
        </p:nvGraphicFramePr>
        <p:xfrm>
          <a:off x="2627784" y="1988840"/>
          <a:ext cx="3324225" cy="2052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r:id="rId10" imgW="3322608" imgH="2048434" progId="Excel.Sheet.8">
                  <p:embed/>
                </p:oleObj>
              </mc:Choice>
              <mc:Fallback>
                <p:oleObj r:id="rId10" imgW="3322608" imgH="2048434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27784" y="1988840"/>
                        <a:ext cx="3324225" cy="2052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71" name="TextBox 2"/>
          <p:cNvSpPr txBox="1">
            <a:spLocks noChangeArrowheads="1"/>
          </p:cNvSpPr>
          <p:nvPr/>
        </p:nvSpPr>
        <p:spPr bwMode="auto">
          <a:xfrm>
            <a:off x="3221038" y="1973263"/>
            <a:ext cx="26638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1200">
                <a:latin typeface="Calibri" pitchFamily="34" charset="0"/>
                <a:cs typeface="Arial" charset="0"/>
              </a:rPr>
              <a:t>Функциональное  восстановление больных после ОНМК,%</a:t>
            </a:r>
          </a:p>
        </p:txBody>
      </p:sp>
      <p:sp>
        <p:nvSpPr>
          <p:cNvPr id="24" name="Text Box 19"/>
          <p:cNvSpPr txBox="1">
            <a:spLocks noChangeArrowheads="1"/>
          </p:cNvSpPr>
          <p:nvPr/>
        </p:nvSpPr>
        <p:spPr bwMode="auto">
          <a:xfrm>
            <a:off x="165100" y="849313"/>
            <a:ext cx="25923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ТЕХНОЛОГИИ</a:t>
            </a:r>
          </a:p>
        </p:txBody>
      </p:sp>
      <p:sp>
        <p:nvSpPr>
          <p:cNvPr id="25" name="Text Box 20"/>
          <p:cNvSpPr txBox="1">
            <a:spLocks noChangeArrowheads="1"/>
          </p:cNvSpPr>
          <p:nvPr/>
        </p:nvSpPr>
        <p:spPr bwMode="auto">
          <a:xfrm>
            <a:off x="574675" y="981075"/>
            <a:ext cx="12604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ЛОГИСТИКА</a:t>
            </a:r>
          </a:p>
        </p:txBody>
      </p:sp>
      <p:sp>
        <p:nvSpPr>
          <p:cNvPr id="26" name="Text Box 21"/>
          <p:cNvSpPr txBox="1">
            <a:spLocks noChangeArrowheads="1"/>
          </p:cNvSpPr>
          <p:nvPr/>
        </p:nvSpPr>
        <p:spPr bwMode="auto">
          <a:xfrm>
            <a:off x="714375" y="1125538"/>
            <a:ext cx="30972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ОПЕРАТИВНОСТЬ</a:t>
            </a: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2665200703"/>
              </p:ext>
            </p:extLst>
          </p:nvPr>
        </p:nvGraphicFramePr>
        <p:xfrm>
          <a:off x="2267744" y="4653136"/>
          <a:ext cx="3096344" cy="1969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9" name="Диаграмма 28"/>
          <p:cNvGraphicFramePr/>
          <p:nvPr>
            <p:extLst>
              <p:ext uri="{D42A27DB-BD31-4B8C-83A1-F6EECF244321}">
                <p14:modId xmlns:p14="http://schemas.microsoft.com/office/powerpoint/2010/main" val="2553724796"/>
              </p:ext>
            </p:extLst>
          </p:nvPr>
        </p:nvGraphicFramePr>
        <p:xfrm>
          <a:off x="5868144" y="4581128"/>
          <a:ext cx="3096344" cy="1969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" name="Стрелка вниз 2"/>
          <p:cNvSpPr/>
          <p:nvPr/>
        </p:nvSpPr>
        <p:spPr>
          <a:xfrm>
            <a:off x="3275856" y="5517232"/>
            <a:ext cx="936104" cy="432048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411760" y="4149080"/>
            <a:ext cx="6480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C00000"/>
                </a:solidFill>
              </a:rPr>
              <a:t>Динамика заболеваемости инсультом и смертности  в РТ на 100 тыс. населен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63888" y="4581128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мертность</a:t>
            </a:r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505392" y="4570111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заболеваемость</a:t>
            </a:r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Стрелка вниз 35"/>
          <p:cNvSpPr/>
          <p:nvPr/>
        </p:nvSpPr>
        <p:spPr>
          <a:xfrm rot="10800000">
            <a:off x="7236296" y="5589240"/>
            <a:ext cx="1080120" cy="432048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7452320" y="5744289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53,4%</a:t>
            </a:r>
            <a:endParaRPr lang="ru-RU" sz="12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3491880" y="5517232"/>
            <a:ext cx="936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61%</a:t>
            </a:r>
            <a:endParaRPr lang="ru-RU" sz="1200" b="1" dirty="0"/>
          </a:p>
        </p:txBody>
      </p:sp>
      <p:sp>
        <p:nvSpPr>
          <p:cNvPr id="23555" name="Text Box 13"/>
          <p:cNvSpPr txBox="1">
            <a:spLocks noChangeArrowheads="1"/>
          </p:cNvSpPr>
          <p:nvPr/>
        </p:nvSpPr>
        <p:spPr bwMode="auto">
          <a:xfrm>
            <a:off x="2679700" y="981075"/>
            <a:ext cx="3205163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ru-RU" sz="1400" dirty="0">
                <a:latin typeface="Tahoma" pitchFamily="34" charset="0"/>
                <a:cs typeface="Arial" charset="0"/>
              </a:rPr>
              <a:t>Для лечения больных </a:t>
            </a:r>
          </a:p>
          <a:p>
            <a:pPr algn="r" eaLnBrk="1" hangingPunct="1"/>
            <a:r>
              <a:rPr lang="ru-RU" sz="1400" dirty="0">
                <a:latin typeface="Tahoma" pitchFamily="34" charset="0"/>
                <a:cs typeface="Arial" charset="0"/>
              </a:rPr>
              <a:t>с инсультом  организовано     </a:t>
            </a:r>
          </a:p>
          <a:p>
            <a:pPr algn="r" eaLnBrk="1" hangingPunct="1"/>
            <a:r>
              <a:rPr lang="ru-RU" sz="1400" b="1" dirty="0" smtClean="0">
                <a:solidFill>
                  <a:srgbClr val="C00000"/>
                </a:solidFill>
                <a:latin typeface="Tahoma" pitchFamily="34" charset="0"/>
                <a:cs typeface="Arial" charset="0"/>
              </a:rPr>
              <a:t>15 </a:t>
            </a:r>
            <a:r>
              <a:rPr lang="ru-RU" sz="1400" b="1" dirty="0">
                <a:solidFill>
                  <a:srgbClr val="C00000"/>
                </a:solidFill>
                <a:latin typeface="Tahoma" pitchFamily="34" charset="0"/>
                <a:cs typeface="Arial" charset="0"/>
              </a:rPr>
              <a:t>сосудистых центров</a:t>
            </a:r>
          </a:p>
          <a:p>
            <a:pPr algn="r" eaLnBrk="1" hangingPunct="1"/>
            <a:endParaRPr lang="ru-RU" sz="1400" dirty="0">
              <a:latin typeface="Tahoma" pitchFamily="34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7494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100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7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2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3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1000" autoRev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7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7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8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1000" autoRev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z="1200" smtClean="0"/>
              <a:pPr>
                <a:defRPr/>
              </a:pPr>
              <a:t>12</a:t>
            </a:fld>
            <a:endParaRPr lang="ru-RU" sz="1200" dirty="0"/>
          </a:p>
        </p:txBody>
      </p:sp>
      <p:graphicFrame>
        <p:nvGraphicFramePr>
          <p:cNvPr id="3" name="Objec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5765851"/>
              </p:ext>
            </p:extLst>
          </p:nvPr>
        </p:nvGraphicFramePr>
        <p:xfrm>
          <a:off x="3851920" y="2780928"/>
          <a:ext cx="5139757" cy="3852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 Box 13"/>
          <p:cNvSpPr txBox="1">
            <a:spLocks noChangeArrowheads="1"/>
          </p:cNvSpPr>
          <p:nvPr/>
        </p:nvSpPr>
        <p:spPr bwMode="auto">
          <a:xfrm>
            <a:off x="31046" y="620688"/>
            <a:ext cx="403244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000" dirty="0">
                <a:solidFill>
                  <a:srgbClr val="C00000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«СЕРДЦЕ    ТАТАРСТАНА</a:t>
            </a:r>
            <a:r>
              <a:rPr lang="ru-RU" sz="2000" dirty="0" smtClean="0">
                <a:solidFill>
                  <a:srgbClr val="C00000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»</a:t>
            </a:r>
          </a:p>
          <a:p>
            <a:pPr algn="ctr" eaLnBrk="1" hangingPunct="1"/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Динамика за 8 лет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36096" y="3212976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1030</a:t>
            </a:r>
            <a:endParaRPr lang="ru-RU" sz="1400" dirty="0"/>
          </a:p>
        </p:txBody>
      </p:sp>
      <p:sp>
        <p:nvSpPr>
          <p:cNvPr id="28" name="TextBox 27"/>
          <p:cNvSpPr txBox="1"/>
          <p:nvPr/>
        </p:nvSpPr>
        <p:spPr>
          <a:xfrm>
            <a:off x="7380312" y="3212976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2100</a:t>
            </a:r>
            <a:endParaRPr lang="ru-RU" sz="1400" dirty="0"/>
          </a:p>
        </p:txBody>
      </p:sp>
      <p:sp>
        <p:nvSpPr>
          <p:cNvPr id="29" name="TextBox 28"/>
          <p:cNvSpPr txBox="1"/>
          <p:nvPr/>
        </p:nvSpPr>
        <p:spPr>
          <a:xfrm>
            <a:off x="5508104" y="4077072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2246</a:t>
            </a:r>
            <a:endParaRPr lang="ru-RU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7380312" y="4077072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4000</a:t>
            </a:r>
            <a:endParaRPr lang="ru-RU" sz="1400" dirty="0"/>
          </a:p>
        </p:txBody>
      </p:sp>
      <p:sp>
        <p:nvSpPr>
          <p:cNvPr id="36" name="TextBox 35"/>
          <p:cNvSpPr txBox="1"/>
          <p:nvPr/>
        </p:nvSpPr>
        <p:spPr>
          <a:xfrm>
            <a:off x="5508104" y="494116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614</a:t>
            </a:r>
            <a:endParaRPr lang="ru-RU" sz="1400" dirty="0"/>
          </a:p>
        </p:txBody>
      </p:sp>
      <p:sp>
        <p:nvSpPr>
          <p:cNvPr id="37" name="TextBox 36"/>
          <p:cNvSpPr txBox="1"/>
          <p:nvPr/>
        </p:nvSpPr>
        <p:spPr>
          <a:xfrm>
            <a:off x="7380312" y="494116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1500</a:t>
            </a:r>
            <a:endParaRPr lang="ru-RU" sz="1400" dirty="0"/>
          </a:p>
        </p:txBody>
      </p:sp>
      <p:sp>
        <p:nvSpPr>
          <p:cNvPr id="38" name="TextBox 37"/>
          <p:cNvSpPr txBox="1"/>
          <p:nvPr/>
        </p:nvSpPr>
        <p:spPr>
          <a:xfrm>
            <a:off x="5508104" y="5805264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456</a:t>
            </a:r>
            <a:endParaRPr lang="ru-RU" sz="1400" dirty="0"/>
          </a:p>
        </p:txBody>
      </p:sp>
      <p:sp>
        <p:nvSpPr>
          <p:cNvPr id="39" name="TextBox 38"/>
          <p:cNvSpPr txBox="1"/>
          <p:nvPr/>
        </p:nvSpPr>
        <p:spPr>
          <a:xfrm>
            <a:off x="7452320" y="5805264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520</a:t>
            </a:r>
            <a:endParaRPr lang="ru-RU" sz="1400" dirty="0"/>
          </a:p>
        </p:txBody>
      </p:sp>
      <p:sp>
        <p:nvSpPr>
          <p:cNvPr id="40" name="TextBox 39"/>
          <p:cNvSpPr txBox="1"/>
          <p:nvPr/>
        </p:nvSpPr>
        <p:spPr>
          <a:xfrm>
            <a:off x="6300192" y="3212976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49%</a:t>
            </a:r>
            <a:endParaRPr lang="ru-RU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6372200" y="4077072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56%</a:t>
            </a:r>
            <a:endParaRPr lang="ru-RU" sz="1400" dirty="0"/>
          </a:p>
        </p:txBody>
      </p:sp>
      <p:sp>
        <p:nvSpPr>
          <p:cNvPr id="42" name="TextBox 41"/>
          <p:cNvSpPr txBox="1"/>
          <p:nvPr/>
        </p:nvSpPr>
        <p:spPr>
          <a:xfrm>
            <a:off x="6300192" y="494116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41%</a:t>
            </a:r>
            <a:endParaRPr lang="ru-RU" sz="1400" dirty="0"/>
          </a:p>
        </p:txBody>
      </p:sp>
      <p:sp>
        <p:nvSpPr>
          <p:cNvPr id="43" name="TextBox 42"/>
          <p:cNvSpPr txBox="1"/>
          <p:nvPr/>
        </p:nvSpPr>
        <p:spPr>
          <a:xfrm>
            <a:off x="6444208" y="5805264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88%</a:t>
            </a:r>
            <a:endParaRPr lang="ru-RU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5220072" y="2636912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C00000"/>
                </a:solidFill>
              </a:rPr>
              <a:t>Факт     удовлетворенность  потребность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24" name="Text Box 3"/>
          <p:cNvSpPr txBox="1">
            <a:spLocks noChangeArrowheads="1"/>
          </p:cNvSpPr>
          <p:nvPr/>
        </p:nvSpPr>
        <p:spPr bwMode="auto">
          <a:xfrm>
            <a:off x="4269465" y="793130"/>
            <a:ext cx="4319587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9600" b="1" dirty="0" smtClean="0">
                <a:solidFill>
                  <a:srgbClr val="DCDCDC"/>
                </a:solidFill>
              </a:rPr>
              <a:t>2012</a:t>
            </a:r>
            <a:endParaRPr lang="ru-RU" sz="9600" b="1" dirty="0">
              <a:solidFill>
                <a:srgbClr val="DCDCDC"/>
              </a:solidFill>
            </a:endParaRPr>
          </a:p>
        </p:txBody>
      </p:sp>
      <p:sp>
        <p:nvSpPr>
          <p:cNvPr id="26" name="Rectangle 5"/>
          <p:cNvSpPr>
            <a:spLocks noChangeArrowheads="1"/>
          </p:cNvSpPr>
          <p:nvPr/>
        </p:nvSpPr>
        <p:spPr bwMode="auto">
          <a:xfrm>
            <a:off x="4485489" y="505098"/>
            <a:ext cx="2736304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endParaRPr lang="ru-RU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spcBef>
                <a:spcPct val="50000"/>
              </a:spcBef>
            </a:pPr>
            <a:r>
              <a:rPr lang="ru-RU" sz="2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МП 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лучили </a:t>
            </a:r>
            <a:endParaRPr lang="ru-RU" sz="2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spcBef>
                <a:spcPct val="50000"/>
              </a:spcBef>
            </a:pPr>
            <a:r>
              <a:rPr lang="ru-RU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4 726 </a:t>
            </a: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человек</a:t>
            </a:r>
          </a:p>
        </p:txBody>
      </p:sp>
      <p:sp>
        <p:nvSpPr>
          <p:cNvPr id="30" name="Text Box 61"/>
          <p:cNvSpPr txBox="1">
            <a:spLocks noChangeArrowheads="1"/>
          </p:cNvSpPr>
          <p:nvPr/>
        </p:nvSpPr>
        <p:spPr bwMode="auto">
          <a:xfrm>
            <a:off x="7365809" y="672604"/>
            <a:ext cx="17272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600" dirty="0">
                <a:latin typeface="Tahoma" pitchFamily="34" charset="0"/>
              </a:rPr>
              <a:t>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6г. - 9 246</a:t>
            </a:r>
          </a:p>
        </p:txBody>
      </p:sp>
      <p:sp>
        <p:nvSpPr>
          <p:cNvPr id="31" name="Text Box 62"/>
          <p:cNvSpPr txBox="1">
            <a:spLocks noChangeArrowheads="1"/>
          </p:cNvSpPr>
          <p:nvPr/>
        </p:nvSpPr>
        <p:spPr bwMode="auto">
          <a:xfrm>
            <a:off x="7293801" y="858466"/>
            <a:ext cx="2089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latin typeface="Tahoma" pitchFamily="34" charset="0"/>
              </a:rPr>
              <a:t> 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7г. - 9 358</a:t>
            </a:r>
          </a:p>
        </p:txBody>
      </p:sp>
      <p:sp>
        <p:nvSpPr>
          <p:cNvPr id="32" name="Text Box 63"/>
          <p:cNvSpPr txBox="1">
            <a:spLocks noChangeArrowheads="1"/>
          </p:cNvSpPr>
          <p:nvPr/>
        </p:nvSpPr>
        <p:spPr bwMode="auto">
          <a:xfrm>
            <a:off x="7293801" y="1074490"/>
            <a:ext cx="2089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latin typeface="Tahoma" pitchFamily="34" charset="0"/>
              </a:rPr>
              <a:t> 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8г. - 14 477</a:t>
            </a:r>
          </a:p>
        </p:txBody>
      </p:sp>
      <p:sp>
        <p:nvSpPr>
          <p:cNvPr id="33" name="Text Box 63"/>
          <p:cNvSpPr txBox="1">
            <a:spLocks noChangeArrowheads="1"/>
          </p:cNvSpPr>
          <p:nvPr/>
        </p:nvSpPr>
        <p:spPr bwMode="auto">
          <a:xfrm>
            <a:off x="7296629" y="1297186"/>
            <a:ext cx="2089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09г. - 19 600</a:t>
            </a:r>
          </a:p>
        </p:txBody>
      </p:sp>
      <p:sp>
        <p:nvSpPr>
          <p:cNvPr id="44" name="Text Box 63"/>
          <p:cNvSpPr txBox="1">
            <a:spLocks noChangeArrowheads="1"/>
          </p:cNvSpPr>
          <p:nvPr/>
        </p:nvSpPr>
        <p:spPr bwMode="auto">
          <a:xfrm>
            <a:off x="7307386" y="1513210"/>
            <a:ext cx="2089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10г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.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– 20 416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</a:endParaRPr>
          </a:p>
        </p:txBody>
      </p:sp>
      <p:sp>
        <p:nvSpPr>
          <p:cNvPr id="45" name="Text Box 63"/>
          <p:cNvSpPr txBox="1">
            <a:spLocks noChangeArrowheads="1"/>
          </p:cNvSpPr>
          <p:nvPr/>
        </p:nvSpPr>
        <p:spPr bwMode="auto">
          <a:xfrm>
            <a:off x="7293801" y="1729234"/>
            <a:ext cx="2089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2011г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.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– 22 224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</a:endParaRPr>
          </a:p>
        </p:txBody>
      </p:sp>
      <p:graphicFrame>
        <p:nvGraphicFramePr>
          <p:cNvPr id="52" name="Диаграмма 51"/>
          <p:cNvGraphicFramePr/>
          <p:nvPr>
            <p:extLst>
              <p:ext uri="{D42A27DB-BD31-4B8C-83A1-F6EECF244321}">
                <p14:modId xmlns:p14="http://schemas.microsoft.com/office/powerpoint/2010/main" val="1084238647"/>
              </p:ext>
            </p:extLst>
          </p:nvPr>
        </p:nvGraphicFramePr>
        <p:xfrm>
          <a:off x="179512" y="3284984"/>
          <a:ext cx="3600400" cy="348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331640" y="242088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</a:rPr>
              <a:t>18 раз</a:t>
            </a:r>
            <a:endParaRPr lang="ru-RU" sz="1400" b="1" dirty="0">
              <a:solidFill>
                <a:srgbClr val="C00000"/>
              </a:solidFill>
            </a:endParaRPr>
          </a:p>
        </p:txBody>
      </p:sp>
      <p:pic>
        <p:nvPicPr>
          <p:cNvPr id="136194" name="Picture 2" descr="http://pixabay.com/static/uploads/photo/2012/04/05/02/02/symbol-25899_640.pn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1547664" y="2060848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http://pixabay.com/static/uploads/photo/2012/04/05/02/02/symbol-25899_640.pn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1442561" y="4583331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/>
          <p:cNvSpPr txBox="1"/>
          <p:nvPr/>
        </p:nvSpPr>
        <p:spPr>
          <a:xfrm>
            <a:off x="1258068" y="5027454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</a:rPr>
              <a:t>9.3 раз</a:t>
            </a:r>
            <a:endParaRPr lang="ru-RU" sz="1400" b="1" dirty="0">
              <a:solidFill>
                <a:srgbClr val="C00000"/>
              </a:solidFill>
            </a:endParaRPr>
          </a:p>
        </p:txBody>
      </p:sp>
      <p:graphicFrame>
        <p:nvGraphicFramePr>
          <p:cNvPr id="53" name="Диаграмма 52"/>
          <p:cNvGraphicFramePr/>
          <p:nvPr>
            <p:extLst>
              <p:ext uri="{D42A27DB-BD31-4B8C-83A1-F6EECF244321}">
                <p14:modId xmlns:p14="http://schemas.microsoft.com/office/powerpoint/2010/main" val="3636303833"/>
              </p:ext>
            </p:extLst>
          </p:nvPr>
        </p:nvGraphicFramePr>
        <p:xfrm>
          <a:off x="611560" y="980728"/>
          <a:ext cx="3264024" cy="3040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82057" y="3573016"/>
            <a:ext cx="159530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Коронарография</a:t>
            </a:r>
            <a:endParaRPr lang="ru-RU" sz="14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010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6938963" y="6492875"/>
            <a:ext cx="2133600" cy="365125"/>
          </a:xfrm>
        </p:spPr>
        <p:txBody>
          <a:bodyPr/>
          <a:lstStyle/>
          <a:p>
            <a:pPr>
              <a:defRPr/>
            </a:pPr>
            <a:fld id="{E2367761-05A9-419A-99B7-A3CE09D2CA19}" type="slidenum">
              <a:rPr lang="ru-RU" sz="1600" b="1" smtClean="0">
                <a:solidFill>
                  <a:schemeClr val="tx1"/>
                </a:solidFill>
              </a:rPr>
              <a:pPr>
                <a:defRPr/>
              </a:pPr>
              <a:t>13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pic>
        <p:nvPicPr>
          <p:cNvPr id="25603" name="Picture 7" descr="IMG_8073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8838" y="4076700"/>
            <a:ext cx="2913062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 descr="199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26025" y="1165225"/>
            <a:ext cx="3816350" cy="263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5" name="Прямоугольник 1"/>
          <p:cNvSpPr>
            <a:spLocks noChangeArrowheads="1"/>
          </p:cNvSpPr>
          <p:nvPr/>
        </p:nvSpPr>
        <p:spPr bwMode="auto">
          <a:xfrm>
            <a:off x="5354638" y="744538"/>
            <a:ext cx="26709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dirty="0">
                <a:latin typeface="Arial Narrow" pitchFamily="34" charset="0"/>
              </a:rPr>
              <a:t>German Heart Centre Munich</a:t>
            </a:r>
            <a:endParaRPr lang="ru-RU" dirty="0">
              <a:latin typeface="Arial Narrow" pitchFamily="34" charset="0"/>
            </a:endParaRPr>
          </a:p>
        </p:txBody>
      </p:sp>
      <p:pic>
        <p:nvPicPr>
          <p:cNvPr id="25606" name="Picture 4" descr="BLG-1T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0" y="1165225"/>
            <a:ext cx="3976688" cy="264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7" name="Picture 1" descr="לוגו רבין אנגלית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888" y="350838"/>
            <a:ext cx="27305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8" name="Прямоугольник 20"/>
          <p:cNvSpPr>
            <a:spLocks noChangeArrowheads="1"/>
          </p:cNvSpPr>
          <p:nvPr/>
        </p:nvSpPr>
        <p:spPr bwMode="auto">
          <a:xfrm>
            <a:off x="179512" y="4149080"/>
            <a:ext cx="5832648" cy="2369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600" dirty="0">
                <a:latin typeface="Arial Narrow" pitchFamily="34" charset="0"/>
              </a:rPr>
              <a:t>В 2012 г прошли стажировку врачи и мед. персонал: </a:t>
            </a:r>
            <a:r>
              <a:rPr lang="en-US" sz="2000" b="1" dirty="0">
                <a:solidFill>
                  <a:srgbClr val="C00000"/>
                </a:solidFill>
                <a:latin typeface="Arial Narrow" pitchFamily="34" charset="0"/>
              </a:rPr>
              <a:t>13</a:t>
            </a:r>
            <a:r>
              <a:rPr lang="ru-RU" sz="2000" b="1" dirty="0">
                <a:solidFill>
                  <a:srgbClr val="C00000"/>
                </a:solidFill>
                <a:latin typeface="Arial Narrow" pitchFamily="34" charset="0"/>
              </a:rPr>
              <a:t>0 </a:t>
            </a:r>
            <a:r>
              <a:rPr lang="ru-RU" sz="2000" b="1" dirty="0" smtClean="0">
                <a:solidFill>
                  <a:srgbClr val="C00000"/>
                </a:solidFill>
                <a:latin typeface="Arial Narrow" pitchFamily="34" charset="0"/>
              </a:rPr>
              <a:t>чел.:</a:t>
            </a:r>
            <a:endParaRPr lang="ru-RU" sz="2000" b="1" dirty="0">
              <a:solidFill>
                <a:srgbClr val="C00000"/>
              </a:solidFill>
              <a:latin typeface="Arial Narrow" pitchFamily="34" charset="0"/>
            </a:endParaRPr>
          </a:p>
          <a:p>
            <a:r>
              <a:rPr lang="ru-RU" sz="1600" dirty="0" err="1">
                <a:latin typeface="Arial Narrow" pitchFamily="34" charset="0"/>
              </a:rPr>
              <a:t>рентгенхирурги</a:t>
            </a:r>
            <a:r>
              <a:rPr lang="ru-RU" sz="1600" dirty="0">
                <a:latin typeface="Arial Narrow" pitchFamily="34" charset="0"/>
              </a:rPr>
              <a:t>,</a:t>
            </a:r>
          </a:p>
          <a:p>
            <a:r>
              <a:rPr lang="ru-RU" sz="1600" dirty="0">
                <a:latin typeface="Arial Narrow" pitchFamily="34" charset="0"/>
              </a:rPr>
              <a:t>анестезиологи-реаниматологи</a:t>
            </a:r>
          </a:p>
          <a:p>
            <a:r>
              <a:rPr lang="ru-RU" sz="1600" dirty="0">
                <a:latin typeface="Arial Narrow" pitchFamily="34" charset="0"/>
              </a:rPr>
              <a:t>кардиохирурги</a:t>
            </a:r>
          </a:p>
          <a:p>
            <a:r>
              <a:rPr lang="ru-RU" sz="1600" dirty="0">
                <a:latin typeface="Arial Narrow" pitchFamily="34" charset="0"/>
              </a:rPr>
              <a:t>нейрохирурги,</a:t>
            </a:r>
          </a:p>
          <a:p>
            <a:r>
              <a:rPr lang="ru-RU" sz="1600" dirty="0">
                <a:latin typeface="Arial Narrow" pitchFamily="34" charset="0"/>
              </a:rPr>
              <a:t>травматологи,</a:t>
            </a:r>
          </a:p>
          <a:p>
            <a:r>
              <a:rPr lang="ru-RU" sz="1600" dirty="0">
                <a:latin typeface="Arial Narrow" pitchFamily="34" charset="0"/>
              </a:rPr>
              <a:t>онкологи,</a:t>
            </a:r>
          </a:p>
          <a:p>
            <a:r>
              <a:rPr lang="ru-RU" sz="1600" dirty="0">
                <a:latin typeface="Arial Narrow" pitchFamily="34" charset="0"/>
              </a:rPr>
              <a:t>акушер-гинекологи,</a:t>
            </a:r>
          </a:p>
          <a:p>
            <a:r>
              <a:rPr lang="ru-RU" sz="1600" dirty="0" err="1">
                <a:latin typeface="Arial Narrow" pitchFamily="34" charset="0"/>
              </a:rPr>
              <a:t>трансплантологи</a:t>
            </a:r>
            <a:r>
              <a:rPr lang="ru-RU" sz="1600" dirty="0">
                <a:latin typeface="Arial Narrow" pitchFamily="34" charset="0"/>
              </a:rPr>
              <a:t> и др.</a:t>
            </a:r>
          </a:p>
        </p:txBody>
      </p:sp>
      <p:sp>
        <p:nvSpPr>
          <p:cNvPr id="25609" name="Прямоугольник 2"/>
          <p:cNvSpPr>
            <a:spLocks noChangeArrowheads="1"/>
          </p:cNvSpPr>
          <p:nvPr/>
        </p:nvSpPr>
        <p:spPr bwMode="auto">
          <a:xfrm>
            <a:off x="2006008" y="0"/>
            <a:ext cx="71564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Стажировки в ведущих зарубежных клиниках</a:t>
            </a:r>
          </a:p>
        </p:txBody>
      </p:sp>
    </p:spTree>
    <p:extLst>
      <p:ext uri="{BB962C8B-B14F-4D97-AF65-F5344CB8AC3E}">
        <p14:creationId xmlns:p14="http://schemas.microsoft.com/office/powerpoint/2010/main" val="2688357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 descr="F:\Картинки_БСМП\1_этаж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484784"/>
            <a:ext cx="3881742" cy="2444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C:\Users\Пользователь\Desktop\ФОТО\ЛПУ\print_413763_348771[1]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077072"/>
            <a:ext cx="3894753" cy="2592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C:\Users\Пользователь\Desktop\ФОТО\ЛПУ\IMG_4788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9992" y="1412776"/>
            <a:ext cx="4248472" cy="2566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Пользователь\Desktop\ФОТО\МЗ РТ\В.Гора 14.07.2011\IMG_3380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7984" y="4077072"/>
            <a:ext cx="4392488" cy="254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3"/>
          <p:cNvSpPr txBox="1">
            <a:spLocks noChangeArrowheads="1"/>
          </p:cNvSpPr>
          <p:nvPr/>
        </p:nvSpPr>
        <p:spPr bwMode="auto">
          <a:xfrm>
            <a:off x="251520" y="188640"/>
            <a:ext cx="864096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РЕКОНСТРУКЦИЯ ПРИЕМНО-ДИАГНОСТИЧЕСКИХ ОТДЕЛЕНИЙ</a:t>
            </a:r>
          </a:p>
          <a:p>
            <a:pPr algn="ctr" eaLnBrk="1" hangingPunct="1"/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с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 концентрацией необходимых ресурсов для оказания экстренной помощи в ПДО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68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Пользователь\Desktop\ПЭТ 30.04.13\IMG_3601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4008" y="908720"/>
            <a:ext cx="4248472" cy="28323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C:\Users\Пользователь\Desktop\ПЭТ 30.04.13\IMG_3637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4008" y="3861048"/>
            <a:ext cx="4203711" cy="2802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IMG_400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7504" y="980728"/>
            <a:ext cx="4308918" cy="27813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5" name="Picture 5" descr="IMG_4039"/>
          <p:cNvPicPr>
            <a:picLocks noChangeAspect="1" noChangeArrowheads="1"/>
          </p:cNvPicPr>
          <p:nvPr/>
        </p:nvPicPr>
        <p:blipFill>
          <a:blip r:embed="rId5" cstate="email">
            <a:extLst/>
          </a:blip>
          <a:srcRect/>
          <a:stretch>
            <a:fillRect/>
          </a:stretch>
        </p:blipFill>
        <p:spPr bwMode="auto">
          <a:xfrm>
            <a:off x="251520" y="3933056"/>
            <a:ext cx="4105597" cy="27365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7" name="TextBox 6"/>
          <p:cNvSpPr txBox="1"/>
          <p:nvPr/>
        </p:nvSpPr>
        <p:spPr>
          <a:xfrm>
            <a:off x="1547664" y="188640"/>
            <a:ext cx="69127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Использование современных медицинских технологий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397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 descr="http://upload.wikimedia.org/wikipedia/commons/6/67/%D0%A1%D1%85%D0%B5%D0%BC%D0%B0_%D1%80%D0%B0%D0%B9%D0%BE%D0%BD%D0%BE%D0%B2_%D0%9A%D0%B0%D0%B7%D0%B0%D0%BD%D0%B8.jpg?uselang=r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3415" y="2093505"/>
            <a:ext cx="4876800" cy="473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http://upload.wikimedia.org/wikipedia/commons/6/67/%D0%A1%D1%85%D0%B5%D0%BC%D0%B0_%D1%80%D0%B0%D0%B9%D0%BE%D0%BD%D0%BE%D0%B2_%D0%9A%D0%B0%D0%B7%D0%B0%D0%BD%D0%B8.jpg?uselang=r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9872" y="2060848"/>
            <a:ext cx="4876800" cy="473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Картинка 59 из 208741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89040"/>
            <a:ext cx="4211960" cy="2805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79512" y="116632"/>
            <a:ext cx="85689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птимизация                                                   НЕОТЛОЖНОЙ МЕДИЦИНСКОЙ ПОМОЩИ в    г. КАЗАНИ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771800" y="6309320"/>
            <a:ext cx="14401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/>
          <p:cNvSpPr/>
          <p:nvPr/>
        </p:nvSpPr>
        <p:spPr>
          <a:xfrm>
            <a:off x="5220072" y="4221088"/>
            <a:ext cx="3384376" cy="26369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5724128" y="1700808"/>
            <a:ext cx="2880320" cy="273630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3133328" y="2343065"/>
            <a:ext cx="2880320" cy="273630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251520" y="1988840"/>
            <a:ext cx="37444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До 2013 года  в городе Казани</a:t>
            </a: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30 ЛПУ участвовали в оказании экстренной медицинской помощи 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52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C:\Users\Пользователь\AppData\Local\Microsoft\Windows\Temporary Internet Files\Content.Outlook\WIUOSMR3\Group 11-_MG_8687__MG_8703-17 images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05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63" y="836712"/>
            <a:ext cx="4770647" cy="274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 descr="C:\Users\Пользователь\Desktop\ПАО\P101096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9" y="3722626"/>
            <a:ext cx="4760235" cy="301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107504" y="188640"/>
            <a:ext cx="885698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ИСПОЛЬЗОВАНИЕ МОДУЛЬНЫХ, ЛЕГКОВОЗВОДИМЫХ КОНСТРУКЦИЙ В РАЙОНАХ РТ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88024" y="1628800"/>
            <a:ext cx="4355976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ЕЛЬДШЕРСКО АКУШЕРСКИЕ ПУНКТЫ </a:t>
            </a:r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крыты в 2012-2013 – 152 </a:t>
            </a:r>
            <a:r>
              <a:rPr lang="ru-RU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АПов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план 2014 г. - 75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88024" y="4005064"/>
            <a:ext cx="4248472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ДУЛЬНЫЕ ПАТОЛОГОАНАТОМИЧЕСКИЕ ОТДЕЛЕНИЯ</a:t>
            </a:r>
          </a:p>
          <a:p>
            <a:pPr algn="ctr">
              <a:spcBef>
                <a:spcPct val="50000"/>
              </a:spcBef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19 районах </a:t>
            </a:r>
          </a:p>
          <a:p>
            <a:pPr algn="ctr">
              <a:spcBef>
                <a:spcPct val="50000"/>
              </a:spcBef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крыты в 2013 – 3 ПАО  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466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53FE299-7046-42C9-B84A-D51B7F93A293}" type="slidenum">
              <a:rPr lang="ru-RU" sz="1400" smtClean="0"/>
              <a:pPr eaLnBrk="1" hangingPunct="1"/>
              <a:t>18</a:t>
            </a:fld>
            <a:endParaRPr lang="ru-RU" sz="1400" smtClean="0"/>
          </a:p>
        </p:txBody>
      </p:sp>
      <p:pic>
        <p:nvPicPr>
          <p:cNvPr id="50179" name="Рисунок 16" descr="Безимени-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63" y="752624"/>
            <a:ext cx="9126537" cy="5700712"/>
          </a:xfrm>
          <a:prstGeom prst="rect">
            <a:avLst/>
          </a:prstGeom>
          <a:noFill/>
          <a:ln w="28575">
            <a:solidFill>
              <a:srgbClr val="00964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7438" y="3071813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0438" y="235743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9063" y="3286125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86375" y="2428875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1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5188" y="235743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3875" y="2857500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786063" y="2500313"/>
            <a:ext cx="357187" cy="357187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19" name="Крест 18"/>
          <p:cNvSpPr/>
          <p:nvPr/>
        </p:nvSpPr>
        <p:spPr>
          <a:xfrm>
            <a:off x="2857488" y="2571744"/>
            <a:ext cx="238127" cy="238127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1" name="Овал 20"/>
          <p:cNvSpPr/>
          <p:nvPr/>
        </p:nvSpPr>
        <p:spPr>
          <a:xfrm>
            <a:off x="6072188" y="2214563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2" name="Крест 21"/>
          <p:cNvSpPr/>
          <p:nvPr/>
        </p:nvSpPr>
        <p:spPr>
          <a:xfrm>
            <a:off x="6143636" y="2285992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3" name="Овал 22"/>
          <p:cNvSpPr/>
          <p:nvPr/>
        </p:nvSpPr>
        <p:spPr>
          <a:xfrm>
            <a:off x="6643688" y="2714625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4" name="Крест 23"/>
          <p:cNvSpPr/>
          <p:nvPr/>
        </p:nvSpPr>
        <p:spPr>
          <a:xfrm>
            <a:off x="6649204" y="2773471"/>
            <a:ext cx="290825" cy="217345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6" name="Овал 25"/>
          <p:cNvSpPr/>
          <p:nvPr/>
        </p:nvSpPr>
        <p:spPr>
          <a:xfrm>
            <a:off x="1071563" y="5572125"/>
            <a:ext cx="357187" cy="357188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27" name="Крест 26"/>
          <p:cNvSpPr/>
          <p:nvPr/>
        </p:nvSpPr>
        <p:spPr>
          <a:xfrm>
            <a:off x="1142976" y="5643577"/>
            <a:ext cx="238127" cy="238127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02" name="TextBox 27"/>
          <p:cNvSpPr txBox="1">
            <a:spLocks noChangeArrowheads="1"/>
          </p:cNvSpPr>
          <p:nvPr/>
        </p:nvSpPr>
        <p:spPr bwMode="auto">
          <a:xfrm>
            <a:off x="1428750" y="5572125"/>
            <a:ext cx="2214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 </a:t>
            </a:r>
            <a:r>
              <a:rPr lang="ru-RU" sz="1400"/>
              <a:t>уровня</a:t>
            </a:r>
          </a:p>
        </p:txBody>
      </p:sp>
      <p:sp>
        <p:nvSpPr>
          <p:cNvPr id="36" name="Овал 35"/>
          <p:cNvSpPr/>
          <p:nvPr/>
        </p:nvSpPr>
        <p:spPr>
          <a:xfrm>
            <a:off x="4143375" y="5572125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37" name="Крест 36"/>
          <p:cNvSpPr/>
          <p:nvPr/>
        </p:nvSpPr>
        <p:spPr>
          <a:xfrm>
            <a:off x="4214810" y="5643577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07" name="TextBox 37"/>
          <p:cNvSpPr txBox="1">
            <a:spLocks noChangeArrowheads="1"/>
          </p:cNvSpPr>
          <p:nvPr/>
        </p:nvSpPr>
        <p:spPr bwMode="auto">
          <a:xfrm>
            <a:off x="4429125" y="5572125"/>
            <a:ext cx="23574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I </a:t>
            </a:r>
            <a:r>
              <a:rPr lang="ru-RU" sz="1400"/>
              <a:t>уровня</a:t>
            </a:r>
          </a:p>
        </p:txBody>
      </p:sp>
      <p:pic>
        <p:nvPicPr>
          <p:cNvPr id="50208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125" y="6072188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209" name="TextBox 39"/>
          <p:cNvSpPr txBox="1">
            <a:spLocks noChangeArrowheads="1"/>
          </p:cNvSpPr>
          <p:nvPr/>
        </p:nvSpPr>
        <p:spPr bwMode="auto">
          <a:xfrm>
            <a:off x="1428750" y="6000750"/>
            <a:ext cx="2286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Травмоцентр </a:t>
            </a:r>
            <a:r>
              <a:rPr lang="en-US" sz="1400"/>
              <a:t>III </a:t>
            </a:r>
            <a:r>
              <a:rPr lang="ru-RU" sz="1400"/>
              <a:t>уровня</a:t>
            </a:r>
          </a:p>
        </p:txBody>
      </p:sp>
      <p:sp>
        <p:nvSpPr>
          <p:cNvPr id="41" name="5-конечная звезда 40"/>
          <p:cNvSpPr/>
          <p:nvPr/>
        </p:nvSpPr>
        <p:spPr>
          <a:xfrm>
            <a:off x="3500438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2" name="5-конечная звезда 41"/>
          <p:cNvSpPr/>
          <p:nvPr/>
        </p:nvSpPr>
        <p:spPr>
          <a:xfrm>
            <a:off x="4214813" y="6072188"/>
            <a:ext cx="142875" cy="142875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12" name="TextBox 42"/>
          <p:cNvSpPr txBox="1">
            <a:spLocks noChangeArrowheads="1"/>
          </p:cNvSpPr>
          <p:nvPr/>
        </p:nvSpPr>
        <p:spPr bwMode="auto">
          <a:xfrm>
            <a:off x="4500563" y="6021388"/>
            <a:ext cx="23574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/>
              <a:t>- Аварийные участки</a:t>
            </a:r>
          </a:p>
        </p:txBody>
      </p:sp>
      <p:sp>
        <p:nvSpPr>
          <p:cNvPr id="44" name="5-конечная звезда 43"/>
          <p:cNvSpPr/>
          <p:nvPr/>
        </p:nvSpPr>
        <p:spPr>
          <a:xfrm>
            <a:off x="2500313" y="2786063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5" name="5-конечная звезда 44"/>
          <p:cNvSpPr/>
          <p:nvPr/>
        </p:nvSpPr>
        <p:spPr>
          <a:xfrm>
            <a:off x="2571750" y="2786063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7" name="5-конечная звезда 46"/>
          <p:cNvSpPr/>
          <p:nvPr/>
        </p:nvSpPr>
        <p:spPr>
          <a:xfrm>
            <a:off x="2643188" y="271462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49" name="5-конечная звезда 48"/>
          <p:cNvSpPr/>
          <p:nvPr/>
        </p:nvSpPr>
        <p:spPr>
          <a:xfrm>
            <a:off x="2786063" y="242887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" name="5-конечная звезда 49"/>
          <p:cNvSpPr/>
          <p:nvPr/>
        </p:nvSpPr>
        <p:spPr>
          <a:xfrm>
            <a:off x="3143250" y="2428875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1" name="5-конечная звезда 50"/>
          <p:cNvSpPr/>
          <p:nvPr/>
        </p:nvSpPr>
        <p:spPr>
          <a:xfrm>
            <a:off x="3643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2" name="5-конечная звезда 51"/>
          <p:cNvSpPr/>
          <p:nvPr/>
        </p:nvSpPr>
        <p:spPr>
          <a:xfrm>
            <a:off x="3857625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3" name="5-конечная звезда 52"/>
          <p:cNvSpPr/>
          <p:nvPr/>
        </p:nvSpPr>
        <p:spPr>
          <a:xfrm>
            <a:off x="400050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4" name="5-конечная звезда 53"/>
          <p:cNvSpPr/>
          <p:nvPr/>
        </p:nvSpPr>
        <p:spPr>
          <a:xfrm>
            <a:off x="378618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5" name="5-конечная звезда 54"/>
          <p:cNvSpPr/>
          <p:nvPr/>
        </p:nvSpPr>
        <p:spPr>
          <a:xfrm>
            <a:off x="457200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6" name="5-конечная звезда 55"/>
          <p:cNvSpPr/>
          <p:nvPr/>
        </p:nvSpPr>
        <p:spPr>
          <a:xfrm>
            <a:off x="464343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7" name="5-конечная звезда 56"/>
          <p:cNvSpPr/>
          <p:nvPr/>
        </p:nvSpPr>
        <p:spPr>
          <a:xfrm>
            <a:off x="4714875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8" name="5-конечная звезда 57"/>
          <p:cNvSpPr/>
          <p:nvPr/>
        </p:nvSpPr>
        <p:spPr>
          <a:xfrm>
            <a:off x="4786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9" name="5-конечная звезда 58"/>
          <p:cNvSpPr/>
          <p:nvPr/>
        </p:nvSpPr>
        <p:spPr>
          <a:xfrm>
            <a:off x="5072063" y="3000375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0" name="5-конечная звезда 59"/>
          <p:cNvSpPr/>
          <p:nvPr/>
        </p:nvSpPr>
        <p:spPr>
          <a:xfrm>
            <a:off x="5643563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1" name="5-конечная звезда 60"/>
          <p:cNvSpPr/>
          <p:nvPr/>
        </p:nvSpPr>
        <p:spPr>
          <a:xfrm>
            <a:off x="5715000" y="2857500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2" name="5-конечная звезда 61"/>
          <p:cNvSpPr/>
          <p:nvPr/>
        </p:nvSpPr>
        <p:spPr>
          <a:xfrm>
            <a:off x="5786438" y="2857500"/>
            <a:ext cx="71437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3" name="5-конечная звезда 62"/>
          <p:cNvSpPr/>
          <p:nvPr/>
        </p:nvSpPr>
        <p:spPr>
          <a:xfrm>
            <a:off x="5857875" y="2786063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4" name="5-конечная звезда 63"/>
          <p:cNvSpPr/>
          <p:nvPr/>
        </p:nvSpPr>
        <p:spPr>
          <a:xfrm>
            <a:off x="6357938" y="264318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5" name="5-конечная звезда 64"/>
          <p:cNvSpPr/>
          <p:nvPr/>
        </p:nvSpPr>
        <p:spPr>
          <a:xfrm>
            <a:off x="6429375" y="2714625"/>
            <a:ext cx="71438" cy="7143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6" name="5-конечная звезда 65"/>
          <p:cNvSpPr/>
          <p:nvPr/>
        </p:nvSpPr>
        <p:spPr>
          <a:xfrm>
            <a:off x="6500813" y="2786063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7" name="5-конечная звезда 66"/>
          <p:cNvSpPr/>
          <p:nvPr/>
        </p:nvSpPr>
        <p:spPr>
          <a:xfrm>
            <a:off x="7072313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8" name="5-конечная звезда 67"/>
          <p:cNvSpPr/>
          <p:nvPr/>
        </p:nvSpPr>
        <p:spPr>
          <a:xfrm>
            <a:off x="7143750" y="292893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69" name="5-конечная звезда 68"/>
          <p:cNvSpPr/>
          <p:nvPr/>
        </p:nvSpPr>
        <p:spPr>
          <a:xfrm>
            <a:off x="7500938" y="2928938"/>
            <a:ext cx="71437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70" name="5-конечная звезда 69"/>
          <p:cNvSpPr/>
          <p:nvPr/>
        </p:nvSpPr>
        <p:spPr>
          <a:xfrm>
            <a:off x="8286750" y="3214688"/>
            <a:ext cx="71438" cy="71437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50238" name="Rectangle 61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0239" name="Text Box 62"/>
          <p:cNvSpPr txBox="1">
            <a:spLocks noChangeArrowheads="1"/>
          </p:cNvSpPr>
          <p:nvPr/>
        </p:nvSpPr>
        <p:spPr bwMode="auto">
          <a:xfrm>
            <a:off x="-217040" y="332656"/>
            <a:ext cx="936104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сположение </a:t>
            </a:r>
            <a:r>
              <a:rPr lang="ru-RU" sz="20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равмоцентров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о трассе М -7 «Волга» </a:t>
            </a:r>
          </a:p>
          <a:p>
            <a:pPr eaLnBrk="1" hangingPunct="1">
              <a:spcBef>
                <a:spcPct val="50000"/>
              </a:spcBef>
            </a:pP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</a:endParaRPr>
          </a:p>
        </p:txBody>
      </p:sp>
      <p:pic>
        <p:nvPicPr>
          <p:cNvPr id="50240" name="Picture 4" descr="IMG_209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74" b="100000" l="0" r="100000">
                        <a14:foregroundMark x1="73753" y1="62013" x2="73753" y2="62013"/>
                        <a14:foregroundMark x1="74187" y1="52922" x2="74187" y2="52922"/>
                        <a14:foregroundMark x1="80477" y1="52922" x2="80477" y2="52922"/>
                        <a14:foregroundMark x1="61171" y1="64610" x2="61171" y2="64610"/>
                        <a14:backgroundMark x1="2820" y1="23052" x2="2820" y2="23052"/>
                        <a14:backgroundMark x1="14751" y1="21429" x2="14751" y2="21429"/>
                        <a14:backgroundMark x1="89588" y1="25649" x2="89588" y2="25649"/>
                        <a14:backgroundMark x1="91974" y1="39935" x2="91974" y2="39935"/>
                        <a14:backgroundMark x1="91323" y1="71429" x2="91323" y2="71429"/>
                        <a14:backgroundMark x1="82213" y1="85065" x2="82213" y2="85065"/>
                        <a14:backgroundMark x1="68113" y1="88636" x2="68113" y2="88636"/>
                        <a14:backgroundMark x1="37310" y1="91883" x2="37310" y2="91883"/>
                        <a14:backgroundMark x1="10629" y1="93506" x2="10629" y2="93506"/>
                        <a14:backgroundMark x1="54447" y1="94481" x2="54447" y2="94481"/>
                        <a14:backgroundMark x1="75488" y1="96104" x2="78742" y2="96104"/>
                        <a14:backgroundMark x1="93492" y1="95455" x2="93492" y2="95455"/>
                        <a14:backgroundMark x1="9544" y1="86039" x2="9544" y2="86039"/>
                        <a14:backgroundMark x1="48807" y1="88636" x2="48807" y2="88636"/>
                        <a14:backgroundMark x1="30586" y1="93506" x2="30586" y2="93506"/>
                        <a14:backgroundMark x1="24295" y1="90909" x2="24295" y2="909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3573016"/>
            <a:ext cx="1917700" cy="128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олилиния 1"/>
          <p:cNvSpPr/>
          <p:nvPr/>
        </p:nvSpPr>
        <p:spPr>
          <a:xfrm>
            <a:off x="7397750" y="5257800"/>
            <a:ext cx="738188" cy="425450"/>
          </a:xfrm>
          <a:custGeom>
            <a:avLst/>
            <a:gdLst>
              <a:gd name="connsiteX0" fmla="*/ 0 w 737755"/>
              <a:gd name="connsiteY0" fmla="*/ 426027 h 426027"/>
              <a:gd name="connsiteX1" fmla="*/ 51955 w 737755"/>
              <a:gd name="connsiteY1" fmla="*/ 342900 h 426027"/>
              <a:gd name="connsiteX2" fmla="*/ 103909 w 737755"/>
              <a:gd name="connsiteY2" fmla="*/ 259773 h 426027"/>
              <a:gd name="connsiteX3" fmla="*/ 124691 w 737755"/>
              <a:gd name="connsiteY3" fmla="*/ 228600 h 426027"/>
              <a:gd name="connsiteX4" fmla="*/ 145473 w 737755"/>
              <a:gd name="connsiteY4" fmla="*/ 197427 h 426027"/>
              <a:gd name="connsiteX5" fmla="*/ 218209 w 737755"/>
              <a:gd name="connsiteY5" fmla="*/ 145473 h 426027"/>
              <a:gd name="connsiteX6" fmla="*/ 259773 w 737755"/>
              <a:gd name="connsiteY6" fmla="*/ 124691 h 426027"/>
              <a:gd name="connsiteX7" fmla="*/ 322118 w 737755"/>
              <a:gd name="connsiteY7" fmla="*/ 83127 h 426027"/>
              <a:gd name="connsiteX8" fmla="*/ 394855 w 737755"/>
              <a:gd name="connsiteY8" fmla="*/ 62345 h 426027"/>
              <a:gd name="connsiteX9" fmla="*/ 436418 w 737755"/>
              <a:gd name="connsiteY9" fmla="*/ 41564 h 426027"/>
              <a:gd name="connsiteX10" fmla="*/ 477982 w 737755"/>
              <a:gd name="connsiteY10" fmla="*/ 31173 h 426027"/>
              <a:gd name="connsiteX11" fmla="*/ 613064 w 737755"/>
              <a:gd name="connsiteY11" fmla="*/ 0 h 426027"/>
              <a:gd name="connsiteX12" fmla="*/ 737755 w 737755"/>
              <a:gd name="connsiteY12" fmla="*/ 0 h 42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7755" h="426027">
                <a:moveTo>
                  <a:pt x="0" y="426027"/>
                </a:moveTo>
                <a:cubicBezTo>
                  <a:pt x="45010" y="313504"/>
                  <a:pt x="-7195" y="424232"/>
                  <a:pt x="51955" y="342900"/>
                </a:cubicBezTo>
                <a:cubicBezTo>
                  <a:pt x="71174" y="316474"/>
                  <a:pt x="86366" y="287340"/>
                  <a:pt x="103909" y="259773"/>
                </a:cubicBezTo>
                <a:cubicBezTo>
                  <a:pt x="110614" y="249237"/>
                  <a:pt x="117764" y="238991"/>
                  <a:pt x="124691" y="228600"/>
                </a:cubicBezTo>
                <a:cubicBezTo>
                  <a:pt x="131618" y="218209"/>
                  <a:pt x="135482" y="204920"/>
                  <a:pt x="145473" y="197427"/>
                </a:cubicBezTo>
                <a:cubicBezTo>
                  <a:pt x="163304" y="184054"/>
                  <a:pt x="196945" y="157624"/>
                  <a:pt x="218209" y="145473"/>
                </a:cubicBezTo>
                <a:cubicBezTo>
                  <a:pt x="231658" y="137788"/>
                  <a:pt x="246490" y="132661"/>
                  <a:pt x="259773" y="124691"/>
                </a:cubicBezTo>
                <a:cubicBezTo>
                  <a:pt x="281190" y="111841"/>
                  <a:pt x="297887" y="89185"/>
                  <a:pt x="322118" y="83127"/>
                </a:cubicBezTo>
                <a:cubicBezTo>
                  <a:pt x="343211" y="77854"/>
                  <a:pt x="373984" y="71289"/>
                  <a:pt x="394855" y="62345"/>
                </a:cubicBezTo>
                <a:cubicBezTo>
                  <a:pt x="409092" y="56243"/>
                  <a:pt x="421915" y="47003"/>
                  <a:pt x="436418" y="41564"/>
                </a:cubicBezTo>
                <a:cubicBezTo>
                  <a:pt x="449790" y="36550"/>
                  <a:pt x="464250" y="35096"/>
                  <a:pt x="477982" y="31173"/>
                </a:cubicBezTo>
                <a:cubicBezTo>
                  <a:pt x="528559" y="16723"/>
                  <a:pt x="543904" y="0"/>
                  <a:pt x="613064" y="0"/>
                </a:cubicBezTo>
                <a:lnTo>
                  <a:pt x="737755" y="0"/>
                </a:lnTo>
              </a:path>
            </a:pathLst>
          </a:cu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7173913" y="5072063"/>
            <a:ext cx="285750" cy="285750"/>
          </a:xfrm>
          <a:prstGeom prst="ellipse">
            <a:avLst/>
          </a:prstGeom>
          <a:solidFill>
            <a:schemeClr val="bg1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72" name="Крест 71"/>
          <p:cNvSpPr/>
          <p:nvPr/>
        </p:nvSpPr>
        <p:spPr>
          <a:xfrm>
            <a:off x="7255464" y="5153883"/>
            <a:ext cx="142876" cy="142876"/>
          </a:xfrm>
          <a:prstGeom prst="plus">
            <a:avLst/>
          </a:prstGeom>
          <a:solidFill>
            <a:srgbClr val="FF0000"/>
          </a:solidFill>
          <a:ln>
            <a:solidFill>
              <a:srgbClr val="CC33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pic>
        <p:nvPicPr>
          <p:cNvPr id="73" name="Picture 86" descr="r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4125" y="5389563"/>
            <a:ext cx="4286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247" name="Прямоугольник 2"/>
          <p:cNvSpPr>
            <a:spLocks noChangeArrowheads="1"/>
          </p:cNvSpPr>
          <p:nvPr/>
        </p:nvSpPr>
        <p:spPr bwMode="auto">
          <a:xfrm>
            <a:off x="611560" y="980728"/>
            <a:ext cx="5112568" cy="4616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4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ЕДЕРАЛЬНАЯ ПРОГРАММА ДТП</a:t>
            </a:r>
          </a:p>
        </p:txBody>
      </p:sp>
      <p:sp>
        <p:nvSpPr>
          <p:cNvPr id="50248" name="Text Box 8"/>
          <p:cNvSpPr txBox="1">
            <a:spLocks noChangeArrowheads="1"/>
          </p:cNvSpPr>
          <p:nvPr/>
        </p:nvSpPr>
        <p:spPr bwMode="auto">
          <a:xfrm>
            <a:off x="3584575" y="3898900"/>
            <a:ext cx="583247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>
                <a:latin typeface="Tahoma" pitchFamily="34" charset="0"/>
              </a:rPr>
              <a:t>Приобретено и установлено 228 единиц медицинского оборудования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>
                <a:latin typeface="Tahoma" pitchFamily="34" charset="0"/>
              </a:rPr>
              <a:t>Поступило 26 реанимобилй 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>
                <a:latin typeface="Tahoma" pitchFamily="34" charset="0"/>
              </a:rPr>
              <a:t>Проведена реконструкция приемных отделений</a:t>
            </a:r>
          </a:p>
        </p:txBody>
      </p:sp>
      <p:sp>
        <p:nvSpPr>
          <p:cNvPr id="7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8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8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88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9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92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9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96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9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100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10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108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0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112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4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116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8" dur="5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120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2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12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6" dur="5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128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0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132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4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136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8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 nodeType="afterGroup">
                            <p:stCondLst>
                              <p:cond delay="11500"/>
                            </p:stCondLst>
                            <p:childTnLst>
                              <p:par>
                                <p:cTn id="140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3" grpId="0" animBg="1"/>
      <p:bldP spid="7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53FE299-7046-42C9-B84A-D51B7F93A293}" type="slidenum">
              <a:rPr lang="ru-RU" sz="1400" smtClean="0"/>
              <a:pPr eaLnBrk="1" hangingPunct="1"/>
              <a:t>19</a:t>
            </a:fld>
            <a:endParaRPr lang="ru-RU" sz="1400" smtClean="0"/>
          </a:p>
        </p:txBody>
      </p:sp>
      <p:sp>
        <p:nvSpPr>
          <p:cNvPr id="50238" name="Rectangle 61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7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33122" name="Picture 2" descr="C:\Users\Пользователь\Desktop\ФОТО\15.11.12 МРН+СМП\IMG_1702++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32656"/>
            <a:ext cx="9144000" cy="652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23" name="Picture 3" descr="C:\Users\Пользователь\Desktop\ФОТО\15.11.12 МРН+СМП\IMG_1730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509120"/>
            <a:ext cx="2736304" cy="182420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24" name="Picture 4" descr="C:\Users\Пользователь\Desktop\ФОТО\15.11.12 МРН+СМП\IMG_1721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5856" y="4509120"/>
            <a:ext cx="2808312" cy="18722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25" name="Picture 5" descr="C:\Users\Пользователь\Desktop\ФОТО\15.11.12 МРН+СМП\IMG_1778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192" y="4485117"/>
            <a:ext cx="2736304" cy="182420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911752" y="6463718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>
                <a:solidFill>
                  <a:srgbClr val="FFFF00"/>
                </a:solidFill>
              </a:rPr>
              <a:t>15 ноября 2012 г.</a:t>
            </a:r>
            <a:endParaRPr lang="ru-RU" sz="1800" dirty="0">
              <a:solidFill>
                <a:srgbClr val="FFFF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97" y="404664"/>
            <a:ext cx="9144000" cy="156966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4400" b="1" spc="50" dirty="0" smtClean="0">
                <a:ln w="11430"/>
                <a:solidFill>
                  <a:srgbClr val="FFFF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Приобретено</a:t>
            </a:r>
            <a:r>
              <a:rPr lang="ru-RU" sz="4800" b="1" spc="50" dirty="0" smtClean="0">
                <a:ln w="11430"/>
                <a:solidFill>
                  <a:srgbClr val="FFFF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260 единиц автотранспорта</a:t>
            </a:r>
            <a:endParaRPr lang="ru-RU" sz="4800" b="1" spc="50" dirty="0">
              <a:ln w="11430"/>
              <a:solidFill>
                <a:srgbClr val="FFFF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6605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ns1.ip-ip.org/images/biography/ford-genri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4271335"/>
            <a:ext cx="2088232" cy="2405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51520" y="1124744"/>
            <a:ext cx="864096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Бизнесмены идут ко дну вместе со своим бизнесом потому, что настолько влюблены в прежние порядки, что не могут заставить себя изменить их. </a:t>
            </a:r>
          </a:p>
          <a:p>
            <a:pPr algn="ctr"/>
            <a:r>
              <a:rPr lang="ru-RU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                                          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(Генри Форд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1863 -1947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)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/>
            </a:r>
            <a:b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</a:b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404664"/>
            <a:ext cx="8640960" cy="626469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67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Пользователь\Desktop\Мотоциклы\IMG_6694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1920" y="1268760"/>
            <a:ext cx="5184576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218" name="Picture 2" descr="C:\Users\Пользователь\Desktop\ФОТО\МЗ РТ\IMG_3377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056" y="1274076"/>
            <a:ext cx="3644861" cy="546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Box 62"/>
          <p:cNvSpPr txBox="1">
            <a:spLocks noChangeArrowheads="1"/>
          </p:cNvSpPr>
          <p:nvPr/>
        </p:nvSpPr>
        <p:spPr bwMode="auto">
          <a:xfrm>
            <a:off x="107504" y="332656"/>
            <a:ext cx="8712968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Медицинский мотоцикл в составе станции скорой медицинской помощи г. Казани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51920" y="4869160"/>
            <a:ext cx="51845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Сокращение времени </a:t>
            </a:r>
            <a:r>
              <a:rPr lang="ru-RU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доезда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в условиях крупного города.</a:t>
            </a: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казание медицинской помощи до приезда основной бригады скорой помощи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20018474">
            <a:off x="202142" y="1190063"/>
            <a:ext cx="2658499" cy="400110"/>
          </a:xfrm>
          <a:prstGeom prst="rect">
            <a:avLst/>
          </a:prstGeom>
          <a:solidFill>
            <a:srgbClr val="E6E6E6">
              <a:alpha val="52941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ОПЕРАТИВНОСТЬ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 rot="20244216">
            <a:off x="2728582" y="1206404"/>
            <a:ext cx="3128660" cy="400110"/>
          </a:xfrm>
          <a:prstGeom prst="rect">
            <a:avLst/>
          </a:prstGeom>
          <a:solidFill>
            <a:srgbClr val="E6E6E6">
              <a:alpha val="52941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ВОЕВРЕМЕННОСТЬ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 rot="20277377">
            <a:off x="6234588" y="1104781"/>
            <a:ext cx="2276982" cy="400110"/>
          </a:xfrm>
          <a:prstGeom prst="rect">
            <a:avLst/>
          </a:prstGeom>
          <a:solidFill>
            <a:srgbClr val="E6E6E6">
              <a:alpha val="52941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МОБИЛЬНОСТЬ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70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C:\Users\Ростислав\AppData\Local\Microsoft\Windows\Temporary Internet Files\Content.IE5\19VFJB0X\se000.JPG"/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92088"/>
            <a:ext cx="9144000" cy="606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200" name="Picture 8" descr="C:\Users\Пользователь\Desktop\ФОТО\Ак Чачакляр 2013\МКДЦ\IMG_4843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304" y="4581128"/>
            <a:ext cx="1277888" cy="19168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198" name="Picture 6" descr="C:\Users\Пользователь\Desktop\ФОТО\Ак Чачакляр 2013\РКБ\IMG_4947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304" y="2564904"/>
            <a:ext cx="1229883" cy="18448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199" name="Picture 7" descr="C:\Users\Пользователь\Desktop\ФОТО\Ак Чачакляр 2013\РКБ\IMG_4954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84300" y="548680"/>
            <a:ext cx="1229883" cy="18448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30052" name="Picture 4" descr="http://medicinkoff.ru/uploads/posts/2011-04/thumbs/1301636585_serdce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192" y="4581128"/>
            <a:ext cx="1755555" cy="1903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060" name="Picture 12" descr="http://ts1.mm.bing.net/images/thumbnail.aspx?q=1504453461048&amp;id=e07aa2775852c0eccfeeec1678502029&amp;url=http%3a%2f%2fwww.nephro-zentrum.de%2fnierenbuch%2fru%2f1_nieren%2fbilder%2fniereschnitt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268760"/>
            <a:ext cx="1152127" cy="161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062" name="Picture 14" descr="http://ts2.mm.bing.net/images/thumbnail.aspx?q=1439676301813&amp;id=7d875a55d7fee26e3af437e7118b485a&amp;url=http%3a%2f%2fwww.uroweb.ru%2fcatalog%2fmed_lib%2foper_atl%2fimg%2f548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068960"/>
            <a:ext cx="2052228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267744" y="332656"/>
            <a:ext cx="4392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               ТРАНСПЛАНТАЦИИ ОРГАНОВ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83768" y="1772816"/>
            <a:ext cx="4392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C00000"/>
                </a:solidFill>
                <a:latin typeface="Arial Narrow" pitchFamily="34" charset="0"/>
              </a:rPr>
              <a:t>Республиканская клиническая больница</a:t>
            </a:r>
            <a:endParaRPr lang="ru-RU" sz="18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55776" y="3645024"/>
            <a:ext cx="4320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C00000"/>
                </a:solidFill>
                <a:latin typeface="Arial Narrow" pitchFamily="34" charset="0"/>
              </a:rPr>
              <a:t>Республиканская клиническая больница</a:t>
            </a:r>
            <a:endParaRPr lang="ru-RU" sz="18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979712" y="5157192"/>
            <a:ext cx="5544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C00000"/>
                </a:solidFill>
                <a:latin typeface="Arial Narrow" pitchFamily="34" charset="0"/>
              </a:rPr>
              <a:t>Межрегиональный клинико-диагностический центр</a:t>
            </a:r>
            <a:endParaRPr lang="ru-RU" sz="18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91680" y="1556792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ПОЧКИ</a:t>
            </a:r>
            <a:endParaRPr lang="ru-RU" sz="16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39752" y="3068960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ПЕЧЕНЬ</a:t>
            </a:r>
            <a:endParaRPr lang="ru-RU" sz="16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91680" y="4725144"/>
            <a:ext cx="1584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  <a:latin typeface="Arial Narrow" pitchFamily="34" charset="0"/>
              </a:rPr>
              <a:t>СЕРДЦЕ</a:t>
            </a:r>
            <a:endParaRPr lang="ru-RU" sz="20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36096" y="2132856"/>
            <a:ext cx="2160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</a:rPr>
              <a:t>п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роф.  </a:t>
            </a:r>
            <a:r>
              <a:rPr lang="ru-RU" sz="1600" b="1" dirty="0" err="1" smtClean="0">
                <a:solidFill>
                  <a:srgbClr val="C00000"/>
                </a:solidFill>
                <a:latin typeface="Arial Narrow" pitchFamily="34" charset="0"/>
              </a:rPr>
              <a:t>Галеев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 Р.Х.</a:t>
            </a:r>
            <a:endParaRPr lang="ru-RU" sz="16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04048" y="4149080"/>
            <a:ext cx="28803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</a:rPr>
              <a:t>п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роф. Красильников Д.М..</a:t>
            </a:r>
            <a:endParaRPr lang="ru-RU" sz="16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60032" y="5661248"/>
            <a:ext cx="23397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</a:rPr>
              <a:t>п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роф. </a:t>
            </a:r>
            <a:r>
              <a:rPr lang="ru-RU" sz="1600" b="1" dirty="0" err="1" smtClean="0">
                <a:solidFill>
                  <a:srgbClr val="C00000"/>
                </a:solidFill>
                <a:latin typeface="Arial Narrow" pitchFamily="34" charset="0"/>
              </a:rPr>
              <a:t>Джорджикия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</a:rPr>
              <a:t> Р.К.</a:t>
            </a:r>
            <a:endParaRPr lang="ru-RU" sz="16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6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 descr="C:\Users\Пользователь\Desktop\28.05.13 Челны Ак Чач\IMG_5180.JPG"/>
          <p:cNvPicPr>
            <a:picLocks noChangeAspect="1" noChangeArrowheads="1"/>
          </p:cNvPicPr>
          <p:nvPr/>
        </p:nvPicPr>
        <p:blipFill>
          <a:blip r:embed="rId2" cstate="screen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83637"/>
            <a:ext cx="9144000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541" name="Rectangle 5"/>
          <p:cNvSpPr>
            <a:spLocks noChangeArrowheads="1"/>
          </p:cNvSpPr>
          <p:nvPr/>
        </p:nvSpPr>
        <p:spPr bwMode="auto">
          <a:xfrm>
            <a:off x="0" y="0"/>
            <a:ext cx="91440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03848" y="404664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УТСОРСИНГ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Text Box 30"/>
          <p:cNvSpPr txBox="1">
            <a:spLocks noChangeArrowheads="1"/>
          </p:cNvSpPr>
          <p:nvPr/>
        </p:nvSpPr>
        <p:spPr bwMode="auto">
          <a:xfrm>
            <a:off x="-23461" y="1052736"/>
            <a:ext cx="9180512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МАКСИМАЛЬНО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ВОБОДИТЬ  ЛПУ ОТ НЕПРОФИЛЬНЫХ ВИДОВ ДЕЯТЕЛЬНОСТИ</a:t>
            </a:r>
          </a:p>
        </p:txBody>
      </p:sp>
      <p:sp>
        <p:nvSpPr>
          <p:cNvPr id="3" name="TextBox 2"/>
          <p:cNvSpPr txBox="1"/>
          <p:nvPr/>
        </p:nvSpPr>
        <p:spPr>
          <a:xfrm rot="5400000">
            <a:off x="-53168" y="3285815"/>
            <a:ext cx="31389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ПРАЧЕЧНЫЕ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 rot="5400000">
            <a:off x="1405519" y="3296700"/>
            <a:ext cx="3138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ПИТАНИЕ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 rot="5400000">
            <a:off x="2389394" y="3640882"/>
            <a:ext cx="3783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ИНФОРМАТИЗАЦИЯ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 rot="5400000">
            <a:off x="3826307" y="3651769"/>
            <a:ext cx="37837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ЛАБОРАТОРИИ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 rot="5400000">
            <a:off x="5578908" y="3597341"/>
            <a:ext cx="3783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СОДЕРЖАНИЕ</a:t>
            </a:r>
            <a:endParaRPr lang="ru-RU" sz="28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25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4EEDDCE-F2E0-45AF-BF89-123C9663CFEA}" type="slidenum">
              <a:rPr lang="ru-RU" sz="1400" smtClean="0"/>
              <a:pPr eaLnBrk="1" hangingPunct="1"/>
              <a:t>23</a:t>
            </a:fld>
            <a:endParaRPr lang="ru-RU" sz="1400" smtClean="0"/>
          </a:p>
        </p:txBody>
      </p:sp>
      <p:pic>
        <p:nvPicPr>
          <p:cNvPr id="49155" name="Picture 2" descr="Диализ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3933056"/>
            <a:ext cx="4401493" cy="282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56" name="Text Box 3"/>
          <p:cNvSpPr txBox="1">
            <a:spLocks noChangeArrowheads="1"/>
          </p:cNvSpPr>
          <p:nvPr/>
        </p:nvSpPr>
        <p:spPr bwMode="auto">
          <a:xfrm>
            <a:off x="2411413" y="333375"/>
            <a:ext cx="67325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 Государственно-частное партнерство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9157" name="Rectangle 5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2" descr="Клиника АВА КАЗАНЬ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1124744"/>
            <a:ext cx="4248472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535488" y="2060848"/>
            <a:ext cx="460851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На начало 2013 года в РТ функционируют                                   </a:t>
            </a:r>
            <a:r>
              <a:rPr lang="ru-RU" sz="2000" b="1" dirty="0" smtClean="0">
                <a:solidFill>
                  <a:srgbClr val="C00000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1 404 субъекта 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предпринимательства в здравоохранении, в том числе                    юридических лиц – 1 162,                                            индивидуальных предпринимателей -242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16016" y="4869160"/>
            <a:ext cx="38164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мбулаторный диализ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898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5B57672-5C64-43B1-94A2-3B945B6F6A8F}" type="slidenum">
              <a:rPr lang="ru-RU" sz="1400" smtClean="0"/>
              <a:pPr eaLnBrk="1" hangingPunct="1"/>
              <a:t>24</a:t>
            </a:fld>
            <a:endParaRPr lang="ru-RU" sz="1400" smtClean="0"/>
          </a:p>
        </p:txBody>
      </p:sp>
      <p:pic>
        <p:nvPicPr>
          <p:cNvPr id="70659" name="Picture 2" descr="C:\Users\Пользователь\Desktop\ФОТО\МЗ РТ\ДКРБ\IMG_4494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07388" y="2132856"/>
            <a:ext cx="4752785" cy="319217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0" name="Picture 3" descr="C:\Users\Пользователь\Desktop\ФОТО\МЗ РТ\ДКРБ\IMG_448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468" y="2060848"/>
            <a:ext cx="4447452" cy="327369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665" name="TextBox 5"/>
          <p:cNvSpPr txBox="1">
            <a:spLocks noChangeArrowheads="1"/>
          </p:cNvSpPr>
          <p:nvPr/>
        </p:nvSpPr>
        <p:spPr bwMode="auto">
          <a:xfrm>
            <a:off x="323528" y="332656"/>
            <a:ext cx="85677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ЕДУЩИМ МЕДИЦИНСКИМ ЦЕНТРАМ – ВТОРУЮ ЖИЗНЬ</a:t>
            </a:r>
          </a:p>
        </p:txBody>
      </p:sp>
      <p:sp>
        <p:nvSpPr>
          <p:cNvPr id="70666" name="TextBox 6"/>
          <p:cNvSpPr txBox="1">
            <a:spLocks noChangeArrowheads="1"/>
          </p:cNvSpPr>
          <p:nvPr/>
        </p:nvSpPr>
        <p:spPr bwMode="auto">
          <a:xfrm>
            <a:off x="30037" y="764704"/>
            <a:ext cx="89281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дернизация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еконструкция.  Дизайн. Новые технологии. Менеджмент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13" y="1268760"/>
            <a:ext cx="9164638" cy="70788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ережно сохраняя традиции, коллектив, опыт</a:t>
            </a:r>
          </a:p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звивая инновации и потенциал коллектива  </a:t>
            </a:r>
          </a:p>
        </p:txBody>
      </p:sp>
      <p:sp>
        <p:nvSpPr>
          <p:cNvPr id="70668" name="Rectangle 4"/>
          <p:cNvSpPr>
            <a:spLocks noChangeArrowheads="1"/>
          </p:cNvSpPr>
          <p:nvPr/>
        </p:nvSpPr>
        <p:spPr bwMode="auto">
          <a:xfrm>
            <a:off x="0" y="-71438"/>
            <a:ext cx="9144000" cy="333376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Вертикальный свиток 8"/>
          <p:cNvSpPr/>
          <p:nvPr/>
        </p:nvSpPr>
        <p:spPr>
          <a:xfrm>
            <a:off x="179512" y="4797152"/>
            <a:ext cx="1033272" cy="1143000"/>
          </a:xfrm>
          <a:prstGeom prst="verticalScroll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Наши </a:t>
            </a:r>
            <a:r>
              <a:rPr lang="ru-RU" sz="800" dirty="0" smtClean="0">
                <a:solidFill>
                  <a:schemeClr val="bg1"/>
                </a:solidFill>
              </a:rPr>
              <a:t>стандарты</a:t>
            </a:r>
            <a:endParaRPr lang="ru-RU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5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C5D86C-2E89-429F-8931-460C57C10BBE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  <p:pic>
        <p:nvPicPr>
          <p:cNvPr id="135170" name="Picture 2" descr="http://minzdrav.tatarstan.ru/file/photoreport/print_576275_553407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92" y="764704"/>
            <a:ext cx="9149244" cy="608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0" y="332656"/>
            <a:ext cx="9143960" cy="4001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Крупнейшая в России детская поликлиника в микрорайоне </a:t>
            </a:r>
            <a:r>
              <a:rPr lang="ru-RU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Азино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 г. Казани   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35172" name="Picture 4" descr="http://minzdrav.tatarstan.ru/file/photoreport/print_576275_553412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3" y="5178690"/>
            <a:ext cx="2304256" cy="1535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7504" y="908720"/>
            <a:ext cx="26642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лощадь -9.8 тысяч </a:t>
            </a:r>
            <a:r>
              <a:rPr lang="ru-RU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кв.м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.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83768" y="6381328"/>
            <a:ext cx="1872208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30 августа 2013г.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248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7" name="Picture 2" descr="lepestok (1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213" y="1628800"/>
            <a:ext cx="4103687" cy="40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8" name="Text Box 4"/>
          <p:cNvSpPr txBox="1">
            <a:spLocks noChangeArrowheads="1"/>
          </p:cNvSpPr>
          <p:nvPr/>
        </p:nvSpPr>
        <p:spPr bwMode="auto">
          <a:xfrm>
            <a:off x="539552" y="476672"/>
            <a:ext cx="81359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ДИСПЕТЧЕРСКИЙ ЦЕНТР МЗ РТ</a:t>
            </a:r>
            <a:endParaRPr lang="ru-RU" sz="20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2229" name="Picture 4" descr="Карттат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contrast="-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9113" y="2180679"/>
            <a:ext cx="5545137" cy="398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9141" name="Oval 5"/>
          <p:cNvSpPr>
            <a:spLocks noChangeArrowheads="1"/>
          </p:cNvSpPr>
          <p:nvPr/>
        </p:nvSpPr>
        <p:spPr bwMode="auto">
          <a:xfrm rot="780069">
            <a:off x="2916238" y="2912342"/>
            <a:ext cx="5543550" cy="2087562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19142" name="Oval 6"/>
          <p:cNvSpPr>
            <a:spLocks noChangeArrowheads="1"/>
          </p:cNvSpPr>
          <p:nvPr/>
        </p:nvSpPr>
        <p:spPr bwMode="auto">
          <a:xfrm rot="-682689">
            <a:off x="3008313" y="1857375"/>
            <a:ext cx="5543550" cy="2087563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52232" name="Oval 7"/>
          <p:cNvSpPr>
            <a:spLocks noChangeArrowheads="1"/>
          </p:cNvSpPr>
          <p:nvPr/>
        </p:nvSpPr>
        <p:spPr bwMode="auto">
          <a:xfrm rot="-650964">
            <a:off x="3054350" y="2566560"/>
            <a:ext cx="5543550" cy="2087563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19144" name="Oval 8"/>
          <p:cNvSpPr>
            <a:spLocks noChangeArrowheads="1"/>
          </p:cNvSpPr>
          <p:nvPr/>
        </p:nvSpPr>
        <p:spPr bwMode="auto">
          <a:xfrm rot="795328">
            <a:off x="2930525" y="3614017"/>
            <a:ext cx="5543550" cy="2087562"/>
          </a:xfrm>
          <a:prstGeom prst="ellips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52234" name="Picture 10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8224" y="692696"/>
            <a:ext cx="22320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8" name="Text Box 13"/>
          <p:cNvSpPr txBox="1">
            <a:spLocks noChangeArrowheads="1"/>
          </p:cNvSpPr>
          <p:nvPr/>
        </p:nvSpPr>
        <p:spPr bwMode="auto">
          <a:xfrm>
            <a:off x="3203848" y="1412776"/>
            <a:ext cx="58326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600" dirty="0">
                <a:solidFill>
                  <a:srgbClr val="002060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 КООРДИНАЦИЯ СЛОЖНЫХ БИЗНЕС-ПРОЦЕССОВ </a:t>
            </a:r>
            <a:r>
              <a:rPr lang="ru-RU" sz="1600" dirty="0">
                <a:solidFill>
                  <a:srgbClr val="002060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В МЕДИЦИНЕ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95536" y="764704"/>
            <a:ext cx="7848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Центр инновационного развития отрасли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1520" y="5877272"/>
            <a:ext cx="87849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ЦЕССНЫЙ ПОДХОД. ИНФОРМАТИЗАЦИЯ. МОНИТОРИНГ. КОНТРОЛЬ.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  <a:p>
            <a:pPr algn="ct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ИЗВОДИТЕЛЬНОСТЬ ТРУД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3528" y="18864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80690" y="18864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47478" y="16939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04640" y="16939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781052" y="150139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138214" y="150139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28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191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8" presetID="8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3000" fill="hold"/>
                                        <p:tgtEl>
                                          <p:spTgt spid="219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1" presetID="8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219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9141" grpId="0" animBg="1"/>
      <p:bldP spid="219142" grpId="0" animBg="1"/>
      <p:bldP spid="21914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9F39204A-755A-4775-A448-4DD9A9F2D1FA}" type="slidenum">
              <a:rPr lang="ru-RU" sz="1400" smtClean="0"/>
              <a:pPr eaLnBrk="1" hangingPunct="1"/>
              <a:t>27</a:t>
            </a:fld>
            <a:endParaRPr lang="ru-RU" sz="1400" smtClean="0"/>
          </a:p>
        </p:txBody>
      </p:sp>
      <p:sp>
        <p:nvSpPr>
          <p:cNvPr id="54276" name="Rectangle 30"/>
          <p:cNvSpPr>
            <a:spLocks noChangeArrowheads="1"/>
          </p:cNvSpPr>
          <p:nvPr/>
        </p:nvSpPr>
        <p:spPr bwMode="auto">
          <a:xfrm>
            <a:off x="179388" y="242888"/>
            <a:ext cx="8785225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 sz="1800">
              <a:solidFill>
                <a:srgbClr val="000099"/>
              </a:solidFill>
            </a:endParaRPr>
          </a:p>
        </p:txBody>
      </p:sp>
      <p:grpSp>
        <p:nvGrpSpPr>
          <p:cNvPr id="54277" name="Группа 266"/>
          <p:cNvGrpSpPr>
            <a:grpSpLocks/>
          </p:cNvGrpSpPr>
          <p:nvPr/>
        </p:nvGrpSpPr>
        <p:grpSpPr bwMode="auto">
          <a:xfrm>
            <a:off x="280988" y="4948238"/>
            <a:ext cx="1152525" cy="973137"/>
            <a:chOff x="418547" y="5291163"/>
            <a:chExt cx="1153057" cy="973545"/>
          </a:xfrm>
        </p:grpSpPr>
        <p:sp>
          <p:nvSpPr>
            <p:cNvPr id="2" name="Скругленный прямоугольник 39"/>
            <p:cNvSpPr/>
            <p:nvPr/>
          </p:nvSpPr>
          <p:spPr>
            <a:xfrm>
              <a:off x="428076" y="5291163"/>
              <a:ext cx="1143528" cy="57174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ЛПУ</a:t>
              </a:r>
            </a:p>
            <a:p>
              <a:pPr algn="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первичного </a:t>
              </a:r>
            </a:p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звена</a:t>
              </a:r>
              <a:endParaRPr lang="ru-RU" sz="1100" dirty="0"/>
            </a:p>
          </p:txBody>
        </p:sp>
        <p:grpSp>
          <p:nvGrpSpPr>
            <p:cNvPr id="54524" name="Группа 62"/>
            <p:cNvGrpSpPr>
              <a:grpSpLocks/>
            </p:cNvGrpSpPr>
            <p:nvPr/>
          </p:nvGrpSpPr>
          <p:grpSpPr bwMode="auto">
            <a:xfrm flipH="1">
              <a:off x="418547" y="5546754"/>
              <a:ext cx="319588" cy="717954"/>
              <a:chOff x="928688" y="5000627"/>
              <a:chExt cx="566738" cy="1273176"/>
            </a:xfrm>
          </p:grpSpPr>
          <p:sp>
            <p:nvSpPr>
              <p:cNvPr id="54525" name="Freeform 8"/>
              <p:cNvSpPr>
                <a:spLocks/>
              </p:cNvSpPr>
              <p:nvPr/>
            </p:nvSpPr>
            <p:spPr bwMode="auto">
              <a:xfrm>
                <a:off x="928688" y="5243513"/>
                <a:ext cx="566737" cy="1030288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26" name="Freeform 9"/>
              <p:cNvSpPr>
                <a:spLocks/>
              </p:cNvSpPr>
              <p:nvPr/>
            </p:nvSpPr>
            <p:spPr bwMode="auto">
              <a:xfrm>
                <a:off x="928690" y="5243516"/>
                <a:ext cx="566736" cy="1030287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27" name="Freeform 10"/>
              <p:cNvSpPr>
                <a:spLocks/>
              </p:cNvSpPr>
              <p:nvPr/>
            </p:nvSpPr>
            <p:spPr bwMode="auto">
              <a:xfrm>
                <a:off x="1101725" y="5000627"/>
                <a:ext cx="225424" cy="236539"/>
              </a:xfrm>
              <a:custGeom>
                <a:avLst/>
                <a:gdLst>
                  <a:gd name="T0" fmla="*/ 2147483647 w 2821"/>
                  <a:gd name="T1" fmla="*/ 2147483647 h 2969"/>
                  <a:gd name="T2" fmla="*/ 2147483647 w 2821"/>
                  <a:gd name="T3" fmla="*/ 2147483647 h 2969"/>
                  <a:gd name="T4" fmla="*/ 2147483647 w 2821"/>
                  <a:gd name="T5" fmla="*/ 2147483647 h 2969"/>
                  <a:gd name="T6" fmla="*/ 2147483647 w 2821"/>
                  <a:gd name="T7" fmla="*/ 2147483647 h 2969"/>
                  <a:gd name="T8" fmla="*/ 2147483647 w 2821"/>
                  <a:gd name="T9" fmla="*/ 2147483647 h 2969"/>
                  <a:gd name="T10" fmla="*/ 2147483647 w 2821"/>
                  <a:gd name="T11" fmla="*/ 2147483647 h 2969"/>
                  <a:gd name="T12" fmla="*/ 2147483647 w 2821"/>
                  <a:gd name="T13" fmla="*/ 2147483647 h 2969"/>
                  <a:gd name="T14" fmla="*/ 2147483647 w 2821"/>
                  <a:gd name="T15" fmla="*/ 2147483647 h 2969"/>
                  <a:gd name="T16" fmla="*/ 2147483647 w 2821"/>
                  <a:gd name="T17" fmla="*/ 2147483647 h 2969"/>
                  <a:gd name="T18" fmla="*/ 2147483647 w 2821"/>
                  <a:gd name="T19" fmla="*/ 2147483647 h 2969"/>
                  <a:gd name="T20" fmla="*/ 2147483647 w 2821"/>
                  <a:gd name="T21" fmla="*/ 2147483647 h 2969"/>
                  <a:gd name="T22" fmla="*/ 2147483647 w 2821"/>
                  <a:gd name="T23" fmla="*/ 2147483647 h 2969"/>
                  <a:gd name="T24" fmla="*/ 2147483647 w 2821"/>
                  <a:gd name="T25" fmla="*/ 2147483647 h 2969"/>
                  <a:gd name="T26" fmla="*/ 2147483647 w 2821"/>
                  <a:gd name="T27" fmla="*/ 2147483647 h 2969"/>
                  <a:gd name="T28" fmla="*/ 2147483647 w 2821"/>
                  <a:gd name="T29" fmla="*/ 2147483647 h 2969"/>
                  <a:gd name="T30" fmla="*/ 2147483647 w 2821"/>
                  <a:gd name="T31" fmla="*/ 2147483647 h 2969"/>
                  <a:gd name="T32" fmla="*/ 2147483647 w 2821"/>
                  <a:gd name="T33" fmla="*/ 2147483647 h 2969"/>
                  <a:gd name="T34" fmla="*/ 2147483647 w 2821"/>
                  <a:gd name="T35" fmla="*/ 2147483647 h 2969"/>
                  <a:gd name="T36" fmla="*/ 2147483647 w 2821"/>
                  <a:gd name="T37" fmla="*/ 2147483647 h 2969"/>
                  <a:gd name="T38" fmla="*/ 2147483647 w 2821"/>
                  <a:gd name="T39" fmla="*/ 2147483647 h 2969"/>
                  <a:gd name="T40" fmla="*/ 2147483647 w 2821"/>
                  <a:gd name="T41" fmla="*/ 2147483647 h 2969"/>
                  <a:gd name="T42" fmla="*/ 2147483647 w 2821"/>
                  <a:gd name="T43" fmla="*/ 2147483647 h 2969"/>
                  <a:gd name="T44" fmla="*/ 2147483647 w 2821"/>
                  <a:gd name="T45" fmla="*/ 2147483647 h 2969"/>
                  <a:gd name="T46" fmla="*/ 2147483647 w 2821"/>
                  <a:gd name="T47" fmla="*/ 2147483647 h 2969"/>
                  <a:gd name="T48" fmla="*/ 2147483647 w 2821"/>
                  <a:gd name="T49" fmla="*/ 2147483647 h 2969"/>
                  <a:gd name="T50" fmla="*/ 2147483647 w 2821"/>
                  <a:gd name="T51" fmla="*/ 2147483647 h 2969"/>
                  <a:gd name="T52" fmla="*/ 2147483647 w 2821"/>
                  <a:gd name="T53" fmla="*/ 2147483647 h 2969"/>
                  <a:gd name="T54" fmla="*/ 2147483647 w 2821"/>
                  <a:gd name="T55" fmla="*/ 2147483647 h 2969"/>
                  <a:gd name="T56" fmla="*/ 2147483647 w 2821"/>
                  <a:gd name="T57" fmla="*/ 2147483647 h 2969"/>
                  <a:gd name="T58" fmla="*/ 2147483647 w 2821"/>
                  <a:gd name="T59" fmla="*/ 2147483647 h 2969"/>
                  <a:gd name="T60" fmla="*/ 2147483647 w 2821"/>
                  <a:gd name="T61" fmla="*/ 2147483647 h 2969"/>
                  <a:gd name="T62" fmla="*/ 2147483647 w 2821"/>
                  <a:gd name="T63" fmla="*/ 2147483647 h 2969"/>
                  <a:gd name="T64" fmla="*/ 2147483647 w 2821"/>
                  <a:gd name="T65" fmla="*/ 2147483647 h 2969"/>
                  <a:gd name="T66" fmla="*/ 2147483647 w 2821"/>
                  <a:gd name="T67" fmla="*/ 2147483647 h 2969"/>
                  <a:gd name="T68" fmla="*/ 2147483647 w 2821"/>
                  <a:gd name="T69" fmla="*/ 2147483647 h 2969"/>
                  <a:gd name="T70" fmla="*/ 2147483647 w 2821"/>
                  <a:gd name="T71" fmla="*/ 2147483647 h 2969"/>
                  <a:gd name="T72" fmla="*/ 2147483647 w 2821"/>
                  <a:gd name="T73" fmla="*/ 2147483647 h 2969"/>
                  <a:gd name="T74" fmla="*/ 2147483647 w 2821"/>
                  <a:gd name="T75" fmla="*/ 2147483647 h 2969"/>
                  <a:gd name="T76" fmla="*/ 2147483647 w 2821"/>
                  <a:gd name="T77" fmla="*/ 2147483647 h 2969"/>
                  <a:gd name="T78" fmla="*/ 2147483647 w 2821"/>
                  <a:gd name="T79" fmla="*/ 2147483647 h 2969"/>
                  <a:gd name="T80" fmla="*/ 2147483647 w 2821"/>
                  <a:gd name="T81" fmla="*/ 2147483647 h 2969"/>
                  <a:gd name="T82" fmla="*/ 2147483647 w 2821"/>
                  <a:gd name="T83" fmla="*/ 2147483647 h 2969"/>
                  <a:gd name="T84" fmla="*/ 2147483647 w 2821"/>
                  <a:gd name="T85" fmla="*/ 0 h 29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21"/>
                  <a:gd name="T130" fmla="*/ 0 h 2969"/>
                  <a:gd name="T131" fmla="*/ 2821 w 2821"/>
                  <a:gd name="T132" fmla="*/ 2969 h 29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21" h="2969">
                    <a:moveTo>
                      <a:pt x="1411" y="0"/>
                    </a:moveTo>
                    <a:lnTo>
                      <a:pt x="1483" y="2"/>
                    </a:lnTo>
                    <a:lnTo>
                      <a:pt x="1555" y="8"/>
                    </a:lnTo>
                    <a:lnTo>
                      <a:pt x="1625" y="17"/>
                    </a:lnTo>
                    <a:lnTo>
                      <a:pt x="1695" y="30"/>
                    </a:lnTo>
                    <a:lnTo>
                      <a:pt x="1763" y="47"/>
                    </a:lnTo>
                    <a:lnTo>
                      <a:pt x="1830" y="67"/>
                    </a:lnTo>
                    <a:lnTo>
                      <a:pt x="1895" y="90"/>
                    </a:lnTo>
                    <a:lnTo>
                      <a:pt x="1959" y="117"/>
                    </a:lnTo>
                    <a:lnTo>
                      <a:pt x="2022" y="146"/>
                    </a:lnTo>
                    <a:lnTo>
                      <a:pt x="2083" y="179"/>
                    </a:lnTo>
                    <a:lnTo>
                      <a:pt x="2142" y="216"/>
                    </a:lnTo>
                    <a:lnTo>
                      <a:pt x="2199" y="254"/>
                    </a:lnTo>
                    <a:lnTo>
                      <a:pt x="2254" y="296"/>
                    </a:lnTo>
                    <a:lnTo>
                      <a:pt x="2307" y="339"/>
                    </a:lnTo>
                    <a:lnTo>
                      <a:pt x="2359" y="386"/>
                    </a:lnTo>
                    <a:lnTo>
                      <a:pt x="2408" y="435"/>
                    </a:lnTo>
                    <a:lnTo>
                      <a:pt x="2454" y="487"/>
                    </a:lnTo>
                    <a:lnTo>
                      <a:pt x="2499" y="540"/>
                    </a:lnTo>
                    <a:lnTo>
                      <a:pt x="2540" y="597"/>
                    </a:lnTo>
                    <a:lnTo>
                      <a:pt x="2579" y="655"/>
                    </a:lnTo>
                    <a:lnTo>
                      <a:pt x="2616" y="715"/>
                    </a:lnTo>
                    <a:lnTo>
                      <a:pt x="2651" y="777"/>
                    </a:lnTo>
                    <a:lnTo>
                      <a:pt x="2682" y="841"/>
                    </a:lnTo>
                    <a:lnTo>
                      <a:pt x="2710" y="907"/>
                    </a:lnTo>
                    <a:lnTo>
                      <a:pt x="2735" y="974"/>
                    </a:lnTo>
                    <a:lnTo>
                      <a:pt x="2757" y="1044"/>
                    </a:lnTo>
                    <a:lnTo>
                      <a:pt x="2776" y="1114"/>
                    </a:lnTo>
                    <a:lnTo>
                      <a:pt x="2792" y="1186"/>
                    </a:lnTo>
                    <a:lnTo>
                      <a:pt x="2804" y="1259"/>
                    </a:lnTo>
                    <a:lnTo>
                      <a:pt x="2813" y="1333"/>
                    </a:lnTo>
                    <a:lnTo>
                      <a:pt x="2819" y="1409"/>
                    </a:lnTo>
                    <a:lnTo>
                      <a:pt x="2821" y="1485"/>
                    </a:lnTo>
                    <a:lnTo>
                      <a:pt x="2819" y="1561"/>
                    </a:lnTo>
                    <a:lnTo>
                      <a:pt x="2813" y="1637"/>
                    </a:lnTo>
                    <a:lnTo>
                      <a:pt x="2804" y="1711"/>
                    </a:lnTo>
                    <a:lnTo>
                      <a:pt x="2792" y="1784"/>
                    </a:lnTo>
                    <a:lnTo>
                      <a:pt x="2776" y="1856"/>
                    </a:lnTo>
                    <a:lnTo>
                      <a:pt x="2757" y="1926"/>
                    </a:lnTo>
                    <a:lnTo>
                      <a:pt x="2735" y="1995"/>
                    </a:lnTo>
                    <a:lnTo>
                      <a:pt x="2710" y="2063"/>
                    </a:lnTo>
                    <a:lnTo>
                      <a:pt x="2682" y="2128"/>
                    </a:lnTo>
                    <a:lnTo>
                      <a:pt x="2651" y="2192"/>
                    </a:lnTo>
                    <a:lnTo>
                      <a:pt x="2616" y="2255"/>
                    </a:lnTo>
                    <a:lnTo>
                      <a:pt x="2579" y="2315"/>
                    </a:lnTo>
                    <a:lnTo>
                      <a:pt x="2540" y="2373"/>
                    </a:lnTo>
                    <a:lnTo>
                      <a:pt x="2499" y="2429"/>
                    </a:lnTo>
                    <a:lnTo>
                      <a:pt x="2454" y="2483"/>
                    </a:lnTo>
                    <a:lnTo>
                      <a:pt x="2408" y="2534"/>
                    </a:lnTo>
                    <a:lnTo>
                      <a:pt x="2359" y="2583"/>
                    </a:lnTo>
                    <a:lnTo>
                      <a:pt x="2307" y="2631"/>
                    </a:lnTo>
                    <a:lnTo>
                      <a:pt x="2254" y="2675"/>
                    </a:lnTo>
                    <a:lnTo>
                      <a:pt x="2199" y="2716"/>
                    </a:lnTo>
                    <a:lnTo>
                      <a:pt x="2142" y="2755"/>
                    </a:lnTo>
                    <a:lnTo>
                      <a:pt x="2083" y="2790"/>
                    </a:lnTo>
                    <a:lnTo>
                      <a:pt x="2022" y="2823"/>
                    </a:lnTo>
                    <a:lnTo>
                      <a:pt x="1959" y="2853"/>
                    </a:lnTo>
                    <a:lnTo>
                      <a:pt x="1895" y="2879"/>
                    </a:lnTo>
                    <a:lnTo>
                      <a:pt x="1830" y="2902"/>
                    </a:lnTo>
                    <a:lnTo>
                      <a:pt x="1763" y="2922"/>
                    </a:lnTo>
                    <a:lnTo>
                      <a:pt x="1695" y="2939"/>
                    </a:lnTo>
                    <a:lnTo>
                      <a:pt x="1625" y="2952"/>
                    </a:lnTo>
                    <a:lnTo>
                      <a:pt x="1555" y="2961"/>
                    </a:lnTo>
                    <a:lnTo>
                      <a:pt x="1483" y="2967"/>
                    </a:lnTo>
                    <a:lnTo>
                      <a:pt x="1411" y="2969"/>
                    </a:lnTo>
                    <a:lnTo>
                      <a:pt x="1338" y="2967"/>
                    </a:lnTo>
                    <a:lnTo>
                      <a:pt x="1266" y="2961"/>
                    </a:lnTo>
                    <a:lnTo>
                      <a:pt x="1196" y="2952"/>
                    </a:lnTo>
                    <a:lnTo>
                      <a:pt x="1127" y="2939"/>
                    </a:lnTo>
                    <a:lnTo>
                      <a:pt x="1058" y="2922"/>
                    </a:lnTo>
                    <a:lnTo>
                      <a:pt x="991" y="2902"/>
                    </a:lnTo>
                    <a:lnTo>
                      <a:pt x="926" y="2879"/>
                    </a:lnTo>
                    <a:lnTo>
                      <a:pt x="862" y="2853"/>
                    </a:lnTo>
                    <a:lnTo>
                      <a:pt x="800" y="2823"/>
                    </a:lnTo>
                    <a:lnTo>
                      <a:pt x="738" y="2790"/>
                    </a:lnTo>
                    <a:lnTo>
                      <a:pt x="679" y="2755"/>
                    </a:lnTo>
                    <a:lnTo>
                      <a:pt x="622" y="2716"/>
                    </a:lnTo>
                    <a:lnTo>
                      <a:pt x="567" y="2675"/>
                    </a:lnTo>
                    <a:lnTo>
                      <a:pt x="514" y="2631"/>
                    </a:lnTo>
                    <a:lnTo>
                      <a:pt x="463" y="2583"/>
                    </a:lnTo>
                    <a:lnTo>
                      <a:pt x="413" y="2534"/>
                    </a:lnTo>
                    <a:lnTo>
                      <a:pt x="367" y="2483"/>
                    </a:lnTo>
                    <a:lnTo>
                      <a:pt x="322" y="2429"/>
                    </a:lnTo>
                    <a:lnTo>
                      <a:pt x="281" y="2373"/>
                    </a:lnTo>
                    <a:lnTo>
                      <a:pt x="242" y="2315"/>
                    </a:lnTo>
                    <a:lnTo>
                      <a:pt x="205" y="2255"/>
                    </a:lnTo>
                    <a:lnTo>
                      <a:pt x="171" y="2192"/>
                    </a:lnTo>
                    <a:lnTo>
                      <a:pt x="140" y="2128"/>
                    </a:lnTo>
                    <a:lnTo>
                      <a:pt x="111" y="2063"/>
                    </a:lnTo>
                    <a:lnTo>
                      <a:pt x="86" y="1995"/>
                    </a:lnTo>
                    <a:lnTo>
                      <a:pt x="64" y="1926"/>
                    </a:lnTo>
                    <a:lnTo>
                      <a:pt x="45" y="1856"/>
                    </a:lnTo>
                    <a:lnTo>
                      <a:pt x="29" y="1784"/>
                    </a:lnTo>
                    <a:lnTo>
                      <a:pt x="17" y="1711"/>
                    </a:lnTo>
                    <a:lnTo>
                      <a:pt x="8" y="1637"/>
                    </a:lnTo>
                    <a:lnTo>
                      <a:pt x="2" y="1561"/>
                    </a:lnTo>
                    <a:lnTo>
                      <a:pt x="0" y="1485"/>
                    </a:lnTo>
                    <a:lnTo>
                      <a:pt x="2" y="1409"/>
                    </a:lnTo>
                    <a:lnTo>
                      <a:pt x="8" y="1333"/>
                    </a:lnTo>
                    <a:lnTo>
                      <a:pt x="17" y="1259"/>
                    </a:lnTo>
                    <a:lnTo>
                      <a:pt x="29" y="1186"/>
                    </a:lnTo>
                    <a:lnTo>
                      <a:pt x="45" y="1114"/>
                    </a:lnTo>
                    <a:lnTo>
                      <a:pt x="64" y="1044"/>
                    </a:lnTo>
                    <a:lnTo>
                      <a:pt x="86" y="974"/>
                    </a:lnTo>
                    <a:lnTo>
                      <a:pt x="111" y="907"/>
                    </a:lnTo>
                    <a:lnTo>
                      <a:pt x="140" y="841"/>
                    </a:lnTo>
                    <a:lnTo>
                      <a:pt x="171" y="777"/>
                    </a:lnTo>
                    <a:lnTo>
                      <a:pt x="205" y="715"/>
                    </a:lnTo>
                    <a:lnTo>
                      <a:pt x="242" y="655"/>
                    </a:lnTo>
                    <a:lnTo>
                      <a:pt x="281" y="597"/>
                    </a:lnTo>
                    <a:lnTo>
                      <a:pt x="322" y="540"/>
                    </a:lnTo>
                    <a:lnTo>
                      <a:pt x="367" y="487"/>
                    </a:lnTo>
                    <a:lnTo>
                      <a:pt x="413" y="435"/>
                    </a:lnTo>
                    <a:lnTo>
                      <a:pt x="463" y="386"/>
                    </a:lnTo>
                    <a:lnTo>
                      <a:pt x="514" y="339"/>
                    </a:lnTo>
                    <a:lnTo>
                      <a:pt x="567" y="296"/>
                    </a:lnTo>
                    <a:lnTo>
                      <a:pt x="622" y="254"/>
                    </a:lnTo>
                    <a:lnTo>
                      <a:pt x="679" y="216"/>
                    </a:lnTo>
                    <a:lnTo>
                      <a:pt x="738" y="179"/>
                    </a:lnTo>
                    <a:lnTo>
                      <a:pt x="800" y="146"/>
                    </a:lnTo>
                    <a:lnTo>
                      <a:pt x="862" y="117"/>
                    </a:lnTo>
                    <a:lnTo>
                      <a:pt x="926" y="90"/>
                    </a:lnTo>
                    <a:lnTo>
                      <a:pt x="991" y="67"/>
                    </a:lnTo>
                    <a:lnTo>
                      <a:pt x="1058" y="47"/>
                    </a:lnTo>
                    <a:lnTo>
                      <a:pt x="1127" y="30"/>
                    </a:lnTo>
                    <a:lnTo>
                      <a:pt x="1196" y="17"/>
                    </a:lnTo>
                    <a:lnTo>
                      <a:pt x="1266" y="8"/>
                    </a:lnTo>
                    <a:lnTo>
                      <a:pt x="1338" y="2"/>
                    </a:lnTo>
                    <a:lnTo>
                      <a:pt x="1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1">
                <a:solidFill>
                  <a:srgbClr val="1F1A1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28" name="Freeform 11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29" name="Freeform 12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30" name="Freeform 13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solidFill>
                <a:srgbClr val="AA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31" name="Freeform 14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32" name="Freeform 15"/>
              <p:cNvSpPr>
                <a:spLocks/>
              </p:cNvSpPr>
              <p:nvPr/>
            </p:nvSpPr>
            <p:spPr bwMode="auto">
              <a:xfrm>
                <a:off x="1311275" y="5405438"/>
                <a:ext cx="169862" cy="114300"/>
              </a:xfrm>
              <a:custGeom>
                <a:avLst/>
                <a:gdLst>
                  <a:gd name="T0" fmla="*/ 2147483647 w 2144"/>
                  <a:gd name="T1" fmla="*/ 2147483647 h 1454"/>
                  <a:gd name="T2" fmla="*/ 2147483647 w 2144"/>
                  <a:gd name="T3" fmla="*/ 2147483647 h 1454"/>
                  <a:gd name="T4" fmla="*/ 2147483647 w 2144"/>
                  <a:gd name="T5" fmla="*/ 2147483647 h 1454"/>
                  <a:gd name="T6" fmla="*/ 2147483647 w 2144"/>
                  <a:gd name="T7" fmla="*/ 2147483647 h 1454"/>
                  <a:gd name="T8" fmla="*/ 2147483647 w 2144"/>
                  <a:gd name="T9" fmla="*/ 2147483647 h 1454"/>
                  <a:gd name="T10" fmla="*/ 2147483647 w 2144"/>
                  <a:gd name="T11" fmla="*/ 2147483647 h 1454"/>
                  <a:gd name="T12" fmla="*/ 2147483647 w 2144"/>
                  <a:gd name="T13" fmla="*/ 2147483647 h 1454"/>
                  <a:gd name="T14" fmla="*/ 2147483647 w 2144"/>
                  <a:gd name="T15" fmla="*/ 2147483647 h 1454"/>
                  <a:gd name="T16" fmla="*/ 2147483647 w 2144"/>
                  <a:gd name="T17" fmla="*/ 2147483647 h 1454"/>
                  <a:gd name="T18" fmla="*/ 2147483647 w 2144"/>
                  <a:gd name="T19" fmla="*/ 2147483647 h 1454"/>
                  <a:gd name="T20" fmla="*/ 2147483647 w 2144"/>
                  <a:gd name="T21" fmla="*/ 2147483647 h 1454"/>
                  <a:gd name="T22" fmla="*/ 2147483647 w 2144"/>
                  <a:gd name="T23" fmla="*/ 2147483647 h 1454"/>
                  <a:gd name="T24" fmla="*/ 2147483647 w 2144"/>
                  <a:gd name="T25" fmla="*/ 2147483647 h 1454"/>
                  <a:gd name="T26" fmla="*/ 2147483647 w 2144"/>
                  <a:gd name="T27" fmla="*/ 2147483647 h 1454"/>
                  <a:gd name="T28" fmla="*/ 2147483647 w 2144"/>
                  <a:gd name="T29" fmla="*/ 2147483647 h 1454"/>
                  <a:gd name="T30" fmla="*/ 2147483647 w 2144"/>
                  <a:gd name="T31" fmla="*/ 2147483647 h 1454"/>
                  <a:gd name="T32" fmla="*/ 2147483647 w 2144"/>
                  <a:gd name="T33" fmla="*/ 2147483647 h 1454"/>
                  <a:gd name="T34" fmla="*/ 2147483647 w 2144"/>
                  <a:gd name="T35" fmla="*/ 2147483647 h 1454"/>
                  <a:gd name="T36" fmla="*/ 2147483647 w 2144"/>
                  <a:gd name="T37" fmla="*/ 2147483647 h 1454"/>
                  <a:gd name="T38" fmla="*/ 2147483647 w 2144"/>
                  <a:gd name="T39" fmla="*/ 2147483647 h 1454"/>
                  <a:gd name="T40" fmla="*/ 2147483647 w 2144"/>
                  <a:gd name="T41" fmla="*/ 2147483647 h 1454"/>
                  <a:gd name="T42" fmla="*/ 2147483647 w 2144"/>
                  <a:gd name="T43" fmla="*/ 2147483647 h 1454"/>
                  <a:gd name="T44" fmla="*/ 2147483647 w 2144"/>
                  <a:gd name="T45" fmla="*/ 2147483647 h 1454"/>
                  <a:gd name="T46" fmla="*/ 2147483647 w 2144"/>
                  <a:gd name="T47" fmla="*/ 2147483647 h 1454"/>
                  <a:gd name="T48" fmla="*/ 2147483647 w 2144"/>
                  <a:gd name="T49" fmla="*/ 2147483647 h 1454"/>
                  <a:gd name="T50" fmla="*/ 2147483647 w 2144"/>
                  <a:gd name="T51" fmla="*/ 2147483647 h 1454"/>
                  <a:gd name="T52" fmla="*/ 2147483647 w 2144"/>
                  <a:gd name="T53" fmla="*/ 2147483647 h 1454"/>
                  <a:gd name="T54" fmla="*/ 2147483647 w 2144"/>
                  <a:gd name="T55" fmla="*/ 2147483647 h 1454"/>
                  <a:gd name="T56" fmla="*/ 2147483647 w 2144"/>
                  <a:gd name="T57" fmla="*/ 2147483647 h 1454"/>
                  <a:gd name="T58" fmla="*/ 2147483647 w 2144"/>
                  <a:gd name="T59" fmla="*/ 2147483647 h 1454"/>
                  <a:gd name="T60" fmla="*/ 2147483647 w 2144"/>
                  <a:gd name="T61" fmla="*/ 2147483647 h 1454"/>
                  <a:gd name="T62" fmla="*/ 2147483647 w 2144"/>
                  <a:gd name="T63" fmla="*/ 2147483647 h 1454"/>
                  <a:gd name="T64" fmla="*/ 2147483647 w 2144"/>
                  <a:gd name="T65" fmla="*/ 2147483647 h 1454"/>
                  <a:gd name="T66" fmla="*/ 2147483647 w 2144"/>
                  <a:gd name="T67" fmla="*/ 2147483647 h 1454"/>
                  <a:gd name="T68" fmla="*/ 2147483647 w 2144"/>
                  <a:gd name="T69" fmla="*/ 2147483647 h 1454"/>
                  <a:gd name="T70" fmla="*/ 2147483647 w 2144"/>
                  <a:gd name="T71" fmla="*/ 2147483647 h 1454"/>
                  <a:gd name="T72" fmla="*/ 2147483647 w 2144"/>
                  <a:gd name="T73" fmla="*/ 2147483647 h 1454"/>
                  <a:gd name="T74" fmla="*/ 2147483647 w 2144"/>
                  <a:gd name="T75" fmla="*/ 2147483647 h 1454"/>
                  <a:gd name="T76" fmla="*/ 2147483647 w 2144"/>
                  <a:gd name="T77" fmla="*/ 2147483647 h 1454"/>
                  <a:gd name="T78" fmla="*/ 2147483647 w 2144"/>
                  <a:gd name="T79" fmla="*/ 2147483647 h 1454"/>
                  <a:gd name="T80" fmla="*/ 2147483647 w 2144"/>
                  <a:gd name="T81" fmla="*/ 2147483647 h 1454"/>
                  <a:gd name="T82" fmla="*/ 2147483647 w 2144"/>
                  <a:gd name="T83" fmla="*/ 2147483647 h 1454"/>
                  <a:gd name="T84" fmla="*/ 2147483647 w 2144"/>
                  <a:gd name="T85" fmla="*/ 2147483647 h 1454"/>
                  <a:gd name="T86" fmla="*/ 2147483647 w 2144"/>
                  <a:gd name="T87" fmla="*/ 2147483647 h 1454"/>
                  <a:gd name="T88" fmla="*/ 2147483647 w 2144"/>
                  <a:gd name="T89" fmla="*/ 2147483647 h 1454"/>
                  <a:gd name="T90" fmla="*/ 2147483647 w 2144"/>
                  <a:gd name="T91" fmla="*/ 2147483647 h 1454"/>
                  <a:gd name="T92" fmla="*/ 2147483647 w 2144"/>
                  <a:gd name="T93" fmla="*/ 0 h 1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44"/>
                  <a:gd name="T142" fmla="*/ 0 h 1454"/>
                  <a:gd name="T143" fmla="*/ 2144 w 2144"/>
                  <a:gd name="T144" fmla="*/ 1454 h 1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44" h="1454">
                    <a:moveTo>
                      <a:pt x="931" y="115"/>
                    </a:moveTo>
                    <a:lnTo>
                      <a:pt x="255" y="517"/>
                    </a:lnTo>
                    <a:lnTo>
                      <a:pt x="133" y="624"/>
                    </a:lnTo>
                    <a:lnTo>
                      <a:pt x="125" y="635"/>
                    </a:lnTo>
                    <a:lnTo>
                      <a:pt x="106" y="666"/>
                    </a:lnTo>
                    <a:lnTo>
                      <a:pt x="94" y="689"/>
                    </a:lnTo>
                    <a:lnTo>
                      <a:pt x="80" y="715"/>
                    </a:lnTo>
                    <a:lnTo>
                      <a:pt x="66" y="746"/>
                    </a:lnTo>
                    <a:lnTo>
                      <a:pt x="52" y="779"/>
                    </a:lnTo>
                    <a:lnTo>
                      <a:pt x="38" y="815"/>
                    </a:lnTo>
                    <a:lnTo>
                      <a:pt x="26" y="853"/>
                    </a:lnTo>
                    <a:lnTo>
                      <a:pt x="20" y="872"/>
                    </a:lnTo>
                    <a:lnTo>
                      <a:pt x="15" y="892"/>
                    </a:lnTo>
                    <a:lnTo>
                      <a:pt x="11" y="913"/>
                    </a:lnTo>
                    <a:lnTo>
                      <a:pt x="7" y="934"/>
                    </a:lnTo>
                    <a:lnTo>
                      <a:pt x="4" y="955"/>
                    </a:lnTo>
                    <a:lnTo>
                      <a:pt x="2" y="976"/>
                    </a:lnTo>
                    <a:lnTo>
                      <a:pt x="1" y="998"/>
                    </a:lnTo>
                    <a:lnTo>
                      <a:pt x="0" y="1019"/>
                    </a:lnTo>
                    <a:lnTo>
                      <a:pt x="1" y="1041"/>
                    </a:lnTo>
                    <a:lnTo>
                      <a:pt x="3" y="1063"/>
                    </a:lnTo>
                    <a:lnTo>
                      <a:pt x="6" y="1085"/>
                    </a:lnTo>
                    <a:lnTo>
                      <a:pt x="10" y="1106"/>
                    </a:lnTo>
                    <a:lnTo>
                      <a:pt x="15" y="1129"/>
                    </a:lnTo>
                    <a:lnTo>
                      <a:pt x="23" y="1152"/>
                    </a:lnTo>
                    <a:lnTo>
                      <a:pt x="31" y="1175"/>
                    </a:lnTo>
                    <a:lnTo>
                      <a:pt x="42" y="1199"/>
                    </a:lnTo>
                    <a:lnTo>
                      <a:pt x="54" y="1223"/>
                    </a:lnTo>
                    <a:lnTo>
                      <a:pt x="68" y="1247"/>
                    </a:lnTo>
                    <a:lnTo>
                      <a:pt x="83" y="1271"/>
                    </a:lnTo>
                    <a:lnTo>
                      <a:pt x="100" y="1295"/>
                    </a:lnTo>
                    <a:lnTo>
                      <a:pt x="118" y="1318"/>
                    </a:lnTo>
                    <a:lnTo>
                      <a:pt x="138" y="1340"/>
                    </a:lnTo>
                    <a:lnTo>
                      <a:pt x="159" y="1361"/>
                    </a:lnTo>
                    <a:lnTo>
                      <a:pt x="182" y="1381"/>
                    </a:lnTo>
                    <a:lnTo>
                      <a:pt x="194" y="1391"/>
                    </a:lnTo>
                    <a:lnTo>
                      <a:pt x="206" y="1400"/>
                    </a:lnTo>
                    <a:lnTo>
                      <a:pt x="219" y="1409"/>
                    </a:lnTo>
                    <a:lnTo>
                      <a:pt x="232" y="1417"/>
                    </a:lnTo>
                    <a:lnTo>
                      <a:pt x="246" y="1425"/>
                    </a:lnTo>
                    <a:lnTo>
                      <a:pt x="259" y="1432"/>
                    </a:lnTo>
                    <a:lnTo>
                      <a:pt x="273" y="1439"/>
                    </a:lnTo>
                    <a:lnTo>
                      <a:pt x="288" y="1445"/>
                    </a:lnTo>
                    <a:lnTo>
                      <a:pt x="299" y="1449"/>
                    </a:lnTo>
                    <a:lnTo>
                      <a:pt x="312" y="1451"/>
                    </a:lnTo>
                    <a:lnTo>
                      <a:pt x="324" y="1453"/>
                    </a:lnTo>
                    <a:lnTo>
                      <a:pt x="336" y="1454"/>
                    </a:lnTo>
                    <a:lnTo>
                      <a:pt x="361" y="1454"/>
                    </a:lnTo>
                    <a:lnTo>
                      <a:pt x="387" y="1452"/>
                    </a:lnTo>
                    <a:lnTo>
                      <a:pt x="413" y="1448"/>
                    </a:lnTo>
                    <a:lnTo>
                      <a:pt x="441" y="1445"/>
                    </a:lnTo>
                    <a:lnTo>
                      <a:pt x="455" y="1444"/>
                    </a:lnTo>
                    <a:lnTo>
                      <a:pt x="469" y="1444"/>
                    </a:lnTo>
                    <a:lnTo>
                      <a:pt x="483" y="1444"/>
                    </a:lnTo>
                    <a:lnTo>
                      <a:pt x="498" y="1445"/>
                    </a:lnTo>
                    <a:lnTo>
                      <a:pt x="528" y="1446"/>
                    </a:lnTo>
                    <a:lnTo>
                      <a:pt x="560" y="1445"/>
                    </a:lnTo>
                    <a:lnTo>
                      <a:pt x="592" y="1443"/>
                    </a:lnTo>
                    <a:lnTo>
                      <a:pt x="626" y="1438"/>
                    </a:lnTo>
                    <a:lnTo>
                      <a:pt x="659" y="1432"/>
                    </a:lnTo>
                    <a:lnTo>
                      <a:pt x="694" y="1425"/>
                    </a:lnTo>
                    <a:lnTo>
                      <a:pt x="729" y="1416"/>
                    </a:lnTo>
                    <a:lnTo>
                      <a:pt x="764" y="1405"/>
                    </a:lnTo>
                    <a:lnTo>
                      <a:pt x="800" y="1393"/>
                    </a:lnTo>
                    <a:lnTo>
                      <a:pt x="836" y="1380"/>
                    </a:lnTo>
                    <a:lnTo>
                      <a:pt x="873" y="1365"/>
                    </a:lnTo>
                    <a:lnTo>
                      <a:pt x="910" y="1350"/>
                    </a:lnTo>
                    <a:lnTo>
                      <a:pt x="948" y="1333"/>
                    </a:lnTo>
                    <a:lnTo>
                      <a:pt x="985" y="1315"/>
                    </a:lnTo>
                    <a:lnTo>
                      <a:pt x="1022" y="1296"/>
                    </a:lnTo>
                    <a:lnTo>
                      <a:pt x="1060" y="1277"/>
                    </a:lnTo>
                    <a:lnTo>
                      <a:pt x="1097" y="1257"/>
                    </a:lnTo>
                    <a:lnTo>
                      <a:pt x="1134" y="1236"/>
                    </a:lnTo>
                    <a:lnTo>
                      <a:pt x="1171" y="1214"/>
                    </a:lnTo>
                    <a:lnTo>
                      <a:pt x="1208" y="1192"/>
                    </a:lnTo>
                    <a:lnTo>
                      <a:pt x="1282" y="1147"/>
                    </a:lnTo>
                    <a:lnTo>
                      <a:pt x="1354" y="1100"/>
                    </a:lnTo>
                    <a:lnTo>
                      <a:pt x="1424" y="1053"/>
                    </a:lnTo>
                    <a:lnTo>
                      <a:pt x="1491" y="1006"/>
                    </a:lnTo>
                    <a:lnTo>
                      <a:pt x="1556" y="961"/>
                    </a:lnTo>
                    <a:lnTo>
                      <a:pt x="1617" y="916"/>
                    </a:lnTo>
                    <a:lnTo>
                      <a:pt x="1681" y="868"/>
                    </a:lnTo>
                    <a:lnTo>
                      <a:pt x="1741" y="822"/>
                    </a:lnTo>
                    <a:lnTo>
                      <a:pt x="1797" y="778"/>
                    </a:lnTo>
                    <a:lnTo>
                      <a:pt x="1849" y="737"/>
                    </a:lnTo>
                    <a:lnTo>
                      <a:pt x="1897" y="697"/>
                    </a:lnTo>
                    <a:lnTo>
                      <a:pt x="1940" y="661"/>
                    </a:lnTo>
                    <a:lnTo>
                      <a:pt x="1979" y="627"/>
                    </a:lnTo>
                    <a:lnTo>
                      <a:pt x="2014" y="597"/>
                    </a:lnTo>
                    <a:lnTo>
                      <a:pt x="2071" y="545"/>
                    </a:lnTo>
                    <a:lnTo>
                      <a:pt x="2112" y="507"/>
                    </a:lnTo>
                    <a:lnTo>
                      <a:pt x="2136" y="483"/>
                    </a:lnTo>
                    <a:lnTo>
                      <a:pt x="2144" y="475"/>
                    </a:lnTo>
                    <a:lnTo>
                      <a:pt x="1554" y="0"/>
                    </a:lnTo>
                    <a:lnTo>
                      <a:pt x="93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33" name="Freeform 16"/>
              <p:cNvSpPr>
                <a:spLocks/>
              </p:cNvSpPr>
              <p:nvPr/>
            </p:nvSpPr>
            <p:spPr bwMode="auto">
              <a:xfrm>
                <a:off x="1311275" y="5416550"/>
                <a:ext cx="171450" cy="104775"/>
              </a:xfrm>
              <a:custGeom>
                <a:avLst/>
                <a:gdLst>
                  <a:gd name="T0" fmla="*/ 2147483647 w 2152"/>
                  <a:gd name="T1" fmla="*/ 2147483647 h 1326"/>
                  <a:gd name="T2" fmla="*/ 2147483647 w 2152"/>
                  <a:gd name="T3" fmla="*/ 2147483647 h 1326"/>
                  <a:gd name="T4" fmla="*/ 2147483647 w 2152"/>
                  <a:gd name="T5" fmla="*/ 2147483647 h 1326"/>
                  <a:gd name="T6" fmla="*/ 2147483647 w 2152"/>
                  <a:gd name="T7" fmla="*/ 2147483647 h 1326"/>
                  <a:gd name="T8" fmla="*/ 2147483647 w 2152"/>
                  <a:gd name="T9" fmla="*/ 2147483647 h 1326"/>
                  <a:gd name="T10" fmla="*/ 2147483647 w 2152"/>
                  <a:gd name="T11" fmla="*/ 2147483647 h 1326"/>
                  <a:gd name="T12" fmla="*/ 2147483647 w 2152"/>
                  <a:gd name="T13" fmla="*/ 2147483647 h 1326"/>
                  <a:gd name="T14" fmla="*/ 2147483647 w 2152"/>
                  <a:gd name="T15" fmla="*/ 2147483647 h 1326"/>
                  <a:gd name="T16" fmla="*/ 2147483647 w 2152"/>
                  <a:gd name="T17" fmla="*/ 2147483647 h 1326"/>
                  <a:gd name="T18" fmla="*/ 2147483647 w 2152"/>
                  <a:gd name="T19" fmla="*/ 2147483647 h 1326"/>
                  <a:gd name="T20" fmla="*/ 2147483647 w 2152"/>
                  <a:gd name="T21" fmla="*/ 2147483647 h 1326"/>
                  <a:gd name="T22" fmla="*/ 2147483647 w 2152"/>
                  <a:gd name="T23" fmla="*/ 2147483647 h 1326"/>
                  <a:gd name="T24" fmla="*/ 2147483647 w 2152"/>
                  <a:gd name="T25" fmla="*/ 2147483647 h 1326"/>
                  <a:gd name="T26" fmla="*/ 2147483647 w 2152"/>
                  <a:gd name="T27" fmla="*/ 2147483647 h 1326"/>
                  <a:gd name="T28" fmla="*/ 2147483647 w 2152"/>
                  <a:gd name="T29" fmla="*/ 2147483647 h 1326"/>
                  <a:gd name="T30" fmla="*/ 2147483647 w 2152"/>
                  <a:gd name="T31" fmla="*/ 2147483647 h 1326"/>
                  <a:gd name="T32" fmla="*/ 2147483647 w 2152"/>
                  <a:gd name="T33" fmla="*/ 2147483647 h 1326"/>
                  <a:gd name="T34" fmla="*/ 2147483647 w 2152"/>
                  <a:gd name="T35" fmla="*/ 2147483647 h 1326"/>
                  <a:gd name="T36" fmla="*/ 0 w 2152"/>
                  <a:gd name="T37" fmla="*/ 2147483647 h 1326"/>
                  <a:gd name="T38" fmla="*/ 2147483647 w 2152"/>
                  <a:gd name="T39" fmla="*/ 2147483647 h 1326"/>
                  <a:gd name="T40" fmla="*/ 2147483647 w 2152"/>
                  <a:gd name="T41" fmla="*/ 2147483647 h 1326"/>
                  <a:gd name="T42" fmla="*/ 2147483647 w 2152"/>
                  <a:gd name="T43" fmla="*/ 2147483647 h 1326"/>
                  <a:gd name="T44" fmla="*/ 2147483647 w 2152"/>
                  <a:gd name="T45" fmla="*/ 2147483647 h 1326"/>
                  <a:gd name="T46" fmla="*/ 2147483647 w 2152"/>
                  <a:gd name="T47" fmla="*/ 2147483647 h 1326"/>
                  <a:gd name="T48" fmla="*/ 2147483647 w 2152"/>
                  <a:gd name="T49" fmla="*/ 2147483647 h 1326"/>
                  <a:gd name="T50" fmla="*/ 2147483647 w 2152"/>
                  <a:gd name="T51" fmla="*/ 2147483647 h 1326"/>
                  <a:gd name="T52" fmla="*/ 2147483647 w 2152"/>
                  <a:gd name="T53" fmla="*/ 2147483647 h 1326"/>
                  <a:gd name="T54" fmla="*/ 2147483647 w 2152"/>
                  <a:gd name="T55" fmla="*/ 2147483647 h 1326"/>
                  <a:gd name="T56" fmla="*/ 2147483647 w 2152"/>
                  <a:gd name="T57" fmla="*/ 2147483647 h 1326"/>
                  <a:gd name="T58" fmla="*/ 2147483647 w 2152"/>
                  <a:gd name="T59" fmla="*/ 2147483647 h 1326"/>
                  <a:gd name="T60" fmla="*/ 2147483647 w 2152"/>
                  <a:gd name="T61" fmla="*/ 2147483647 h 1326"/>
                  <a:gd name="T62" fmla="*/ 2147483647 w 2152"/>
                  <a:gd name="T63" fmla="*/ 2147483647 h 1326"/>
                  <a:gd name="T64" fmla="*/ 2147483647 w 2152"/>
                  <a:gd name="T65" fmla="*/ 2147483647 h 1326"/>
                  <a:gd name="T66" fmla="*/ 2147483647 w 2152"/>
                  <a:gd name="T67" fmla="*/ 2147483647 h 1326"/>
                  <a:gd name="T68" fmla="*/ 2147483647 w 2152"/>
                  <a:gd name="T69" fmla="*/ 2147483647 h 1326"/>
                  <a:gd name="T70" fmla="*/ 2147483647 w 2152"/>
                  <a:gd name="T71" fmla="*/ 2147483647 h 1326"/>
                  <a:gd name="T72" fmla="*/ 2147483647 w 2152"/>
                  <a:gd name="T73" fmla="*/ 2147483647 h 1326"/>
                  <a:gd name="T74" fmla="*/ 2147483647 w 2152"/>
                  <a:gd name="T75" fmla="*/ 2147483647 h 1326"/>
                  <a:gd name="T76" fmla="*/ 2147483647 w 2152"/>
                  <a:gd name="T77" fmla="*/ 2147483647 h 1326"/>
                  <a:gd name="T78" fmla="*/ 2147483647 w 2152"/>
                  <a:gd name="T79" fmla="*/ 2147483647 h 1326"/>
                  <a:gd name="T80" fmla="*/ 2147483647 w 2152"/>
                  <a:gd name="T81" fmla="*/ 2147483647 h 1326"/>
                  <a:gd name="T82" fmla="*/ 2147483647 w 2152"/>
                  <a:gd name="T83" fmla="*/ 2147483647 h 1326"/>
                  <a:gd name="T84" fmla="*/ 2147483647 w 2152"/>
                  <a:gd name="T85" fmla="*/ 2147483647 h 1326"/>
                  <a:gd name="T86" fmla="*/ 2147483647 w 2152"/>
                  <a:gd name="T87" fmla="*/ 2147483647 h 1326"/>
                  <a:gd name="T88" fmla="*/ 2147483647 w 2152"/>
                  <a:gd name="T89" fmla="*/ 2147483647 h 1326"/>
                  <a:gd name="T90" fmla="*/ 2147483647 w 2152"/>
                  <a:gd name="T91" fmla="*/ 2147483647 h 1326"/>
                  <a:gd name="T92" fmla="*/ 2147483647 w 2152"/>
                  <a:gd name="T93" fmla="*/ 2147483647 h 1326"/>
                  <a:gd name="T94" fmla="*/ 2147483647 w 2152"/>
                  <a:gd name="T95" fmla="*/ 2147483647 h 1326"/>
                  <a:gd name="T96" fmla="*/ 2147483647 w 2152"/>
                  <a:gd name="T97" fmla="*/ 2147483647 h 1326"/>
                  <a:gd name="T98" fmla="*/ 2147483647 w 2152"/>
                  <a:gd name="T99" fmla="*/ 2147483647 h 1326"/>
                  <a:gd name="T100" fmla="*/ 2147483647 w 2152"/>
                  <a:gd name="T101" fmla="*/ 2147483647 h 1326"/>
                  <a:gd name="T102" fmla="*/ 2147483647 w 2152"/>
                  <a:gd name="T103" fmla="*/ 2147483647 h 1326"/>
                  <a:gd name="T104" fmla="*/ 2147483647 w 2152"/>
                  <a:gd name="T105" fmla="*/ 2147483647 h 1326"/>
                  <a:gd name="T106" fmla="*/ 2147483647 w 2152"/>
                  <a:gd name="T107" fmla="*/ 2147483647 h 13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52"/>
                  <a:gd name="T163" fmla="*/ 0 h 1326"/>
                  <a:gd name="T164" fmla="*/ 2152 w 2152"/>
                  <a:gd name="T165" fmla="*/ 1326 h 13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52" h="1326">
                    <a:moveTo>
                      <a:pt x="827" y="0"/>
                    </a:moveTo>
                    <a:lnTo>
                      <a:pt x="790" y="24"/>
                    </a:lnTo>
                    <a:lnTo>
                      <a:pt x="752" y="50"/>
                    </a:lnTo>
                    <a:lnTo>
                      <a:pt x="713" y="77"/>
                    </a:lnTo>
                    <a:lnTo>
                      <a:pt x="672" y="104"/>
                    </a:lnTo>
                    <a:lnTo>
                      <a:pt x="630" y="132"/>
                    </a:lnTo>
                    <a:lnTo>
                      <a:pt x="585" y="161"/>
                    </a:lnTo>
                    <a:lnTo>
                      <a:pt x="539" y="191"/>
                    </a:lnTo>
                    <a:lnTo>
                      <a:pt x="492" y="219"/>
                    </a:lnTo>
                    <a:lnTo>
                      <a:pt x="444" y="248"/>
                    </a:lnTo>
                    <a:lnTo>
                      <a:pt x="394" y="276"/>
                    </a:lnTo>
                    <a:lnTo>
                      <a:pt x="346" y="304"/>
                    </a:lnTo>
                    <a:lnTo>
                      <a:pt x="298" y="333"/>
                    </a:lnTo>
                    <a:lnTo>
                      <a:pt x="275" y="348"/>
                    </a:lnTo>
                    <a:lnTo>
                      <a:pt x="253" y="363"/>
                    </a:lnTo>
                    <a:lnTo>
                      <a:pt x="232" y="378"/>
                    </a:lnTo>
                    <a:lnTo>
                      <a:pt x="213" y="393"/>
                    </a:lnTo>
                    <a:lnTo>
                      <a:pt x="194" y="409"/>
                    </a:lnTo>
                    <a:lnTo>
                      <a:pt x="177" y="424"/>
                    </a:lnTo>
                    <a:lnTo>
                      <a:pt x="162" y="440"/>
                    </a:lnTo>
                    <a:lnTo>
                      <a:pt x="148" y="457"/>
                    </a:lnTo>
                    <a:lnTo>
                      <a:pt x="132" y="478"/>
                    </a:lnTo>
                    <a:lnTo>
                      <a:pt x="117" y="499"/>
                    </a:lnTo>
                    <a:lnTo>
                      <a:pt x="103" y="522"/>
                    </a:lnTo>
                    <a:lnTo>
                      <a:pt x="90" y="544"/>
                    </a:lnTo>
                    <a:lnTo>
                      <a:pt x="77" y="568"/>
                    </a:lnTo>
                    <a:lnTo>
                      <a:pt x="65" y="592"/>
                    </a:lnTo>
                    <a:lnTo>
                      <a:pt x="54" y="617"/>
                    </a:lnTo>
                    <a:lnTo>
                      <a:pt x="44" y="641"/>
                    </a:lnTo>
                    <a:lnTo>
                      <a:pt x="35" y="666"/>
                    </a:lnTo>
                    <a:lnTo>
                      <a:pt x="27" y="692"/>
                    </a:lnTo>
                    <a:lnTo>
                      <a:pt x="20" y="717"/>
                    </a:lnTo>
                    <a:lnTo>
                      <a:pt x="14" y="743"/>
                    </a:lnTo>
                    <a:lnTo>
                      <a:pt x="9" y="769"/>
                    </a:lnTo>
                    <a:lnTo>
                      <a:pt x="5" y="795"/>
                    </a:lnTo>
                    <a:lnTo>
                      <a:pt x="2" y="821"/>
                    </a:lnTo>
                    <a:lnTo>
                      <a:pt x="0" y="848"/>
                    </a:lnTo>
                    <a:lnTo>
                      <a:pt x="0" y="874"/>
                    </a:lnTo>
                    <a:lnTo>
                      <a:pt x="1" y="900"/>
                    </a:lnTo>
                    <a:lnTo>
                      <a:pt x="3" y="926"/>
                    </a:lnTo>
                    <a:lnTo>
                      <a:pt x="6" y="952"/>
                    </a:lnTo>
                    <a:lnTo>
                      <a:pt x="11" y="978"/>
                    </a:lnTo>
                    <a:lnTo>
                      <a:pt x="17" y="1004"/>
                    </a:lnTo>
                    <a:lnTo>
                      <a:pt x="25" y="1030"/>
                    </a:lnTo>
                    <a:lnTo>
                      <a:pt x="34" y="1054"/>
                    </a:lnTo>
                    <a:lnTo>
                      <a:pt x="44" y="1079"/>
                    </a:lnTo>
                    <a:lnTo>
                      <a:pt x="56" y="1103"/>
                    </a:lnTo>
                    <a:lnTo>
                      <a:pt x="69" y="1127"/>
                    </a:lnTo>
                    <a:lnTo>
                      <a:pt x="85" y="1150"/>
                    </a:lnTo>
                    <a:lnTo>
                      <a:pt x="101" y="1172"/>
                    </a:lnTo>
                    <a:lnTo>
                      <a:pt x="120" y="1194"/>
                    </a:lnTo>
                    <a:lnTo>
                      <a:pt x="140" y="1216"/>
                    </a:lnTo>
                    <a:lnTo>
                      <a:pt x="161" y="1236"/>
                    </a:lnTo>
                    <a:lnTo>
                      <a:pt x="178" y="1250"/>
                    </a:lnTo>
                    <a:lnTo>
                      <a:pt x="195" y="1262"/>
                    </a:lnTo>
                    <a:lnTo>
                      <a:pt x="214" y="1274"/>
                    </a:lnTo>
                    <a:lnTo>
                      <a:pt x="233" y="1284"/>
                    </a:lnTo>
                    <a:lnTo>
                      <a:pt x="253" y="1293"/>
                    </a:lnTo>
                    <a:lnTo>
                      <a:pt x="274" y="1300"/>
                    </a:lnTo>
                    <a:lnTo>
                      <a:pt x="296" y="1307"/>
                    </a:lnTo>
                    <a:lnTo>
                      <a:pt x="319" y="1313"/>
                    </a:lnTo>
                    <a:lnTo>
                      <a:pt x="343" y="1317"/>
                    </a:lnTo>
                    <a:lnTo>
                      <a:pt x="366" y="1321"/>
                    </a:lnTo>
                    <a:lnTo>
                      <a:pt x="391" y="1324"/>
                    </a:lnTo>
                    <a:lnTo>
                      <a:pt x="416" y="1325"/>
                    </a:lnTo>
                    <a:lnTo>
                      <a:pt x="442" y="1326"/>
                    </a:lnTo>
                    <a:lnTo>
                      <a:pt x="468" y="1325"/>
                    </a:lnTo>
                    <a:lnTo>
                      <a:pt x="495" y="1324"/>
                    </a:lnTo>
                    <a:lnTo>
                      <a:pt x="522" y="1322"/>
                    </a:lnTo>
                    <a:lnTo>
                      <a:pt x="549" y="1319"/>
                    </a:lnTo>
                    <a:lnTo>
                      <a:pt x="577" y="1316"/>
                    </a:lnTo>
                    <a:lnTo>
                      <a:pt x="606" y="1311"/>
                    </a:lnTo>
                    <a:lnTo>
                      <a:pt x="635" y="1306"/>
                    </a:lnTo>
                    <a:lnTo>
                      <a:pt x="664" y="1300"/>
                    </a:lnTo>
                    <a:lnTo>
                      <a:pt x="693" y="1293"/>
                    </a:lnTo>
                    <a:lnTo>
                      <a:pt x="722" y="1286"/>
                    </a:lnTo>
                    <a:lnTo>
                      <a:pt x="752" y="1277"/>
                    </a:lnTo>
                    <a:lnTo>
                      <a:pt x="781" y="1269"/>
                    </a:lnTo>
                    <a:lnTo>
                      <a:pt x="811" y="1259"/>
                    </a:lnTo>
                    <a:lnTo>
                      <a:pt x="840" y="1249"/>
                    </a:lnTo>
                    <a:lnTo>
                      <a:pt x="870" y="1239"/>
                    </a:lnTo>
                    <a:lnTo>
                      <a:pt x="899" y="1227"/>
                    </a:lnTo>
                    <a:lnTo>
                      <a:pt x="930" y="1216"/>
                    </a:lnTo>
                    <a:lnTo>
                      <a:pt x="959" y="1204"/>
                    </a:lnTo>
                    <a:lnTo>
                      <a:pt x="988" y="1191"/>
                    </a:lnTo>
                    <a:lnTo>
                      <a:pt x="1021" y="1176"/>
                    </a:lnTo>
                    <a:lnTo>
                      <a:pt x="1052" y="1161"/>
                    </a:lnTo>
                    <a:lnTo>
                      <a:pt x="1083" y="1145"/>
                    </a:lnTo>
                    <a:lnTo>
                      <a:pt x="1112" y="1129"/>
                    </a:lnTo>
                    <a:lnTo>
                      <a:pt x="1141" y="1113"/>
                    </a:lnTo>
                    <a:lnTo>
                      <a:pt x="1169" y="1096"/>
                    </a:lnTo>
                    <a:lnTo>
                      <a:pt x="1195" y="1079"/>
                    </a:lnTo>
                    <a:lnTo>
                      <a:pt x="1220" y="1062"/>
                    </a:lnTo>
                    <a:lnTo>
                      <a:pt x="1337" y="978"/>
                    </a:lnTo>
                    <a:lnTo>
                      <a:pt x="1444" y="900"/>
                    </a:lnTo>
                    <a:lnTo>
                      <a:pt x="1544" y="825"/>
                    </a:lnTo>
                    <a:lnTo>
                      <a:pt x="1636" y="756"/>
                    </a:lnTo>
                    <a:lnTo>
                      <a:pt x="1719" y="691"/>
                    </a:lnTo>
                    <a:lnTo>
                      <a:pt x="1796" y="631"/>
                    </a:lnTo>
                    <a:lnTo>
                      <a:pt x="1865" y="575"/>
                    </a:lnTo>
                    <a:lnTo>
                      <a:pt x="1926" y="525"/>
                    </a:lnTo>
                    <a:lnTo>
                      <a:pt x="1980" y="481"/>
                    </a:lnTo>
                    <a:lnTo>
                      <a:pt x="2026" y="442"/>
                    </a:lnTo>
                    <a:lnTo>
                      <a:pt x="2064" y="408"/>
                    </a:lnTo>
                    <a:lnTo>
                      <a:pt x="2096" y="380"/>
                    </a:lnTo>
                    <a:lnTo>
                      <a:pt x="2120" y="359"/>
                    </a:lnTo>
                    <a:lnTo>
                      <a:pt x="2138" y="343"/>
                    </a:lnTo>
                    <a:lnTo>
                      <a:pt x="2148" y="333"/>
                    </a:lnTo>
                    <a:lnTo>
                      <a:pt x="2152" y="330"/>
                    </a:lnTo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34" name="Freeform 17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35" name="Freeform 18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45" name="Скругленный прямоугольник 44"/>
          <p:cNvSpPr/>
          <p:nvPr/>
        </p:nvSpPr>
        <p:spPr>
          <a:xfrm>
            <a:off x="2322513" y="3722688"/>
            <a:ext cx="1743075" cy="71437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Стационары</a:t>
            </a:r>
          </a:p>
        </p:txBody>
      </p:sp>
      <p:grpSp>
        <p:nvGrpSpPr>
          <p:cNvPr id="54279" name="Группа 85"/>
          <p:cNvGrpSpPr>
            <a:grpSpLocks/>
          </p:cNvGrpSpPr>
          <p:nvPr/>
        </p:nvGrpSpPr>
        <p:grpSpPr bwMode="auto">
          <a:xfrm>
            <a:off x="2366963" y="4332288"/>
            <a:ext cx="598487" cy="325437"/>
            <a:chOff x="2857500" y="4857750"/>
            <a:chExt cx="893763" cy="511175"/>
          </a:xfrm>
        </p:grpSpPr>
        <p:sp>
          <p:nvSpPr>
            <p:cNvPr id="3" name="Полилиния 86"/>
            <p:cNvSpPr/>
            <p:nvPr/>
          </p:nvSpPr>
          <p:spPr>
            <a:xfrm>
              <a:off x="3184660" y="4962479"/>
              <a:ext cx="526301" cy="339121"/>
            </a:xfrm>
            <a:custGeom>
              <a:avLst/>
              <a:gdLst>
                <a:gd name="connsiteX0" fmla="*/ 7143 w 526256"/>
                <a:gd name="connsiteY0" fmla="*/ 38100 h 338138"/>
                <a:gd name="connsiteX1" fmla="*/ 250031 w 526256"/>
                <a:gd name="connsiteY1" fmla="*/ 0 h 338138"/>
                <a:gd name="connsiteX2" fmla="*/ 526256 w 526256"/>
                <a:gd name="connsiteY2" fmla="*/ 85725 h 338138"/>
                <a:gd name="connsiteX3" fmla="*/ 521493 w 526256"/>
                <a:gd name="connsiteY3" fmla="*/ 290513 h 338138"/>
                <a:gd name="connsiteX4" fmla="*/ 481012 w 526256"/>
                <a:gd name="connsiteY4" fmla="*/ 309563 h 338138"/>
                <a:gd name="connsiteX5" fmla="*/ 473868 w 526256"/>
                <a:gd name="connsiteY5" fmla="*/ 311944 h 338138"/>
                <a:gd name="connsiteX6" fmla="*/ 450056 w 526256"/>
                <a:gd name="connsiteY6" fmla="*/ 311944 h 338138"/>
                <a:gd name="connsiteX7" fmla="*/ 340518 w 526256"/>
                <a:gd name="connsiteY7" fmla="*/ 297657 h 338138"/>
                <a:gd name="connsiteX8" fmla="*/ 319087 w 526256"/>
                <a:gd name="connsiteY8" fmla="*/ 288132 h 338138"/>
                <a:gd name="connsiteX9" fmla="*/ 319087 w 526256"/>
                <a:gd name="connsiteY9" fmla="*/ 285750 h 338138"/>
                <a:gd name="connsiteX10" fmla="*/ 297656 w 526256"/>
                <a:gd name="connsiteY10" fmla="*/ 297657 h 338138"/>
                <a:gd name="connsiteX11" fmla="*/ 283368 w 526256"/>
                <a:gd name="connsiteY11" fmla="*/ 307182 h 338138"/>
                <a:gd name="connsiteX12" fmla="*/ 276225 w 526256"/>
                <a:gd name="connsiteY12" fmla="*/ 311944 h 338138"/>
                <a:gd name="connsiteX13" fmla="*/ 261937 w 526256"/>
                <a:gd name="connsiteY13" fmla="*/ 321469 h 338138"/>
                <a:gd name="connsiteX14" fmla="*/ 221456 w 526256"/>
                <a:gd name="connsiteY14" fmla="*/ 335757 h 338138"/>
                <a:gd name="connsiteX15" fmla="*/ 207168 w 526256"/>
                <a:gd name="connsiteY15" fmla="*/ 338138 h 338138"/>
                <a:gd name="connsiteX16" fmla="*/ 76200 w 526256"/>
                <a:gd name="connsiteY16" fmla="*/ 335757 h 338138"/>
                <a:gd name="connsiteX17" fmla="*/ 66675 w 526256"/>
                <a:gd name="connsiteY17" fmla="*/ 333375 h 338138"/>
                <a:gd name="connsiteX18" fmla="*/ 57150 w 526256"/>
                <a:gd name="connsiteY18" fmla="*/ 328613 h 338138"/>
                <a:gd name="connsiteX19" fmla="*/ 26193 w 526256"/>
                <a:gd name="connsiteY19" fmla="*/ 326232 h 338138"/>
                <a:gd name="connsiteX20" fmla="*/ 11906 w 526256"/>
                <a:gd name="connsiteY20" fmla="*/ 321469 h 338138"/>
                <a:gd name="connsiteX21" fmla="*/ 4762 w 526256"/>
                <a:gd name="connsiteY21" fmla="*/ 319088 h 338138"/>
                <a:gd name="connsiteX22" fmla="*/ 0 w 526256"/>
                <a:gd name="connsiteY22" fmla="*/ 316707 h 338138"/>
                <a:gd name="connsiteX23" fmla="*/ 7143 w 526256"/>
                <a:gd name="connsiteY23" fmla="*/ 3810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26256" h="338138">
                  <a:moveTo>
                    <a:pt x="7143" y="38100"/>
                  </a:moveTo>
                  <a:lnTo>
                    <a:pt x="250031" y="0"/>
                  </a:lnTo>
                  <a:lnTo>
                    <a:pt x="526256" y="85725"/>
                  </a:lnTo>
                  <a:lnTo>
                    <a:pt x="521493" y="290513"/>
                  </a:lnTo>
                  <a:cubicBezTo>
                    <a:pt x="507999" y="296863"/>
                    <a:pt x="494612" y="303443"/>
                    <a:pt x="481012" y="309563"/>
                  </a:cubicBezTo>
                  <a:cubicBezTo>
                    <a:pt x="478723" y="310593"/>
                    <a:pt x="476371" y="311752"/>
                    <a:pt x="473868" y="311944"/>
                  </a:cubicBezTo>
                  <a:cubicBezTo>
                    <a:pt x="465954" y="312553"/>
                    <a:pt x="457993" y="311944"/>
                    <a:pt x="450056" y="311944"/>
                  </a:cubicBezTo>
                  <a:cubicBezTo>
                    <a:pt x="413543" y="307182"/>
                    <a:pt x="376912" y="303256"/>
                    <a:pt x="340518" y="297657"/>
                  </a:cubicBezTo>
                  <a:cubicBezTo>
                    <a:pt x="334949" y="296800"/>
                    <a:pt x="323890" y="292935"/>
                    <a:pt x="319087" y="288132"/>
                  </a:cubicBezTo>
                  <a:lnTo>
                    <a:pt x="319087" y="285750"/>
                  </a:lnTo>
                  <a:cubicBezTo>
                    <a:pt x="311943" y="289719"/>
                    <a:pt x="304664" y="293452"/>
                    <a:pt x="297656" y="297657"/>
                  </a:cubicBezTo>
                  <a:cubicBezTo>
                    <a:pt x="292748" y="300602"/>
                    <a:pt x="288131" y="304007"/>
                    <a:pt x="283368" y="307182"/>
                  </a:cubicBezTo>
                  <a:lnTo>
                    <a:pt x="276225" y="311944"/>
                  </a:lnTo>
                  <a:cubicBezTo>
                    <a:pt x="272880" y="325319"/>
                    <a:pt x="277116" y="321469"/>
                    <a:pt x="261937" y="321469"/>
                  </a:cubicBezTo>
                  <a:cubicBezTo>
                    <a:pt x="248443" y="326232"/>
                    <a:pt x="235146" y="331591"/>
                    <a:pt x="221456" y="335757"/>
                  </a:cubicBezTo>
                  <a:cubicBezTo>
                    <a:pt x="216837" y="337163"/>
                    <a:pt x="211996" y="338138"/>
                    <a:pt x="207168" y="338138"/>
                  </a:cubicBezTo>
                  <a:cubicBezTo>
                    <a:pt x="163505" y="338138"/>
                    <a:pt x="119856" y="336551"/>
                    <a:pt x="76200" y="335757"/>
                  </a:cubicBezTo>
                  <a:cubicBezTo>
                    <a:pt x="73025" y="334963"/>
                    <a:pt x="69739" y="334524"/>
                    <a:pt x="66675" y="333375"/>
                  </a:cubicBezTo>
                  <a:cubicBezTo>
                    <a:pt x="63351" y="332129"/>
                    <a:pt x="60646" y="329230"/>
                    <a:pt x="57150" y="328613"/>
                  </a:cubicBezTo>
                  <a:cubicBezTo>
                    <a:pt x="46958" y="326815"/>
                    <a:pt x="36512" y="327026"/>
                    <a:pt x="26193" y="326232"/>
                  </a:cubicBezTo>
                  <a:lnTo>
                    <a:pt x="11906" y="321469"/>
                  </a:lnTo>
                  <a:cubicBezTo>
                    <a:pt x="9525" y="320675"/>
                    <a:pt x="7007" y="320211"/>
                    <a:pt x="4762" y="319088"/>
                  </a:cubicBezTo>
                  <a:lnTo>
                    <a:pt x="0" y="316707"/>
                  </a:lnTo>
                  <a:lnTo>
                    <a:pt x="7143" y="381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0"/>
            </a:p>
          </p:txBody>
        </p:sp>
        <p:sp>
          <p:nvSpPr>
            <p:cNvPr id="54507" name="Freeform 25"/>
            <p:cNvSpPr>
              <a:spLocks/>
            </p:cNvSpPr>
            <p:nvPr/>
          </p:nvSpPr>
          <p:spPr bwMode="auto">
            <a:xfrm>
              <a:off x="2862263" y="4899025"/>
              <a:ext cx="323850" cy="431800"/>
            </a:xfrm>
            <a:custGeom>
              <a:avLst/>
              <a:gdLst>
                <a:gd name="T0" fmla="*/ 0 w 5917"/>
                <a:gd name="T1" fmla="*/ 2147483647 h 7907"/>
                <a:gd name="T2" fmla="*/ 2147483647 w 5917"/>
                <a:gd name="T3" fmla="*/ 2147483647 h 7907"/>
                <a:gd name="T4" fmla="*/ 2147483647 w 5917"/>
                <a:gd name="T5" fmla="*/ 2147483647 h 7907"/>
                <a:gd name="T6" fmla="*/ 2147483647 w 5917"/>
                <a:gd name="T7" fmla="*/ 2147483647 h 7907"/>
                <a:gd name="T8" fmla="*/ 2147483647 w 5917"/>
                <a:gd name="T9" fmla="*/ 2147483647 h 7907"/>
                <a:gd name="T10" fmla="*/ 2147483647 w 5917"/>
                <a:gd name="T11" fmla="*/ 0 h 7907"/>
                <a:gd name="T12" fmla="*/ 0 w 5917"/>
                <a:gd name="T13" fmla="*/ 2147483647 h 790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17"/>
                <a:gd name="T22" fmla="*/ 0 h 7907"/>
                <a:gd name="T23" fmla="*/ 5917 w 5917"/>
                <a:gd name="T24" fmla="*/ 7907 h 790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17" h="7907">
                  <a:moveTo>
                    <a:pt x="0" y="92"/>
                  </a:moveTo>
                  <a:lnTo>
                    <a:pt x="5050" y="1023"/>
                  </a:lnTo>
                  <a:lnTo>
                    <a:pt x="4957" y="7907"/>
                  </a:lnTo>
                  <a:lnTo>
                    <a:pt x="5732" y="7875"/>
                  </a:lnTo>
                  <a:lnTo>
                    <a:pt x="5917" y="868"/>
                  </a:lnTo>
                  <a:lnTo>
                    <a:pt x="341" y="0"/>
                  </a:lnTo>
                  <a:lnTo>
                    <a:pt x="0" y="92"/>
                  </a:lnTo>
                  <a:close/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08" name="Freeform 26"/>
            <p:cNvSpPr>
              <a:spLocks/>
            </p:cNvSpPr>
            <p:nvPr/>
          </p:nvSpPr>
          <p:spPr bwMode="auto">
            <a:xfrm>
              <a:off x="3427413" y="4857750"/>
              <a:ext cx="323850" cy="433388"/>
            </a:xfrm>
            <a:custGeom>
              <a:avLst/>
              <a:gdLst>
                <a:gd name="T0" fmla="*/ 0 w 5918"/>
                <a:gd name="T1" fmla="*/ 2147483647 h 7906"/>
                <a:gd name="T2" fmla="*/ 2147483647 w 5918"/>
                <a:gd name="T3" fmla="*/ 2147483647 h 7906"/>
                <a:gd name="T4" fmla="*/ 2147483647 w 5918"/>
                <a:gd name="T5" fmla="*/ 2147483647 h 7906"/>
                <a:gd name="T6" fmla="*/ 2147483647 w 5918"/>
                <a:gd name="T7" fmla="*/ 2147483647 h 7906"/>
                <a:gd name="T8" fmla="*/ 2147483647 w 5918"/>
                <a:gd name="T9" fmla="*/ 2147483647 h 7906"/>
                <a:gd name="T10" fmla="*/ 2147483647 w 5918"/>
                <a:gd name="T11" fmla="*/ 0 h 7906"/>
                <a:gd name="T12" fmla="*/ 0 w 5918"/>
                <a:gd name="T13" fmla="*/ 2147483647 h 790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18"/>
                <a:gd name="T22" fmla="*/ 0 h 7906"/>
                <a:gd name="T23" fmla="*/ 5918 w 5918"/>
                <a:gd name="T24" fmla="*/ 7906 h 790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18" h="7906">
                  <a:moveTo>
                    <a:pt x="0" y="93"/>
                  </a:moveTo>
                  <a:lnTo>
                    <a:pt x="5051" y="1023"/>
                  </a:lnTo>
                  <a:lnTo>
                    <a:pt x="4958" y="7906"/>
                  </a:lnTo>
                  <a:lnTo>
                    <a:pt x="5732" y="7876"/>
                  </a:lnTo>
                  <a:lnTo>
                    <a:pt x="5918" y="868"/>
                  </a:lnTo>
                  <a:lnTo>
                    <a:pt x="341" y="0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09" name="Freeform 27"/>
            <p:cNvSpPr>
              <a:spLocks/>
            </p:cNvSpPr>
            <p:nvPr/>
          </p:nvSpPr>
          <p:spPr bwMode="auto">
            <a:xfrm>
              <a:off x="3427413" y="4857750"/>
              <a:ext cx="323850" cy="433388"/>
            </a:xfrm>
            <a:custGeom>
              <a:avLst/>
              <a:gdLst>
                <a:gd name="T0" fmla="*/ 0 w 5918"/>
                <a:gd name="T1" fmla="*/ 2147483647 h 7906"/>
                <a:gd name="T2" fmla="*/ 2147483647 w 5918"/>
                <a:gd name="T3" fmla="*/ 2147483647 h 7906"/>
                <a:gd name="T4" fmla="*/ 2147483647 w 5918"/>
                <a:gd name="T5" fmla="*/ 2147483647 h 7906"/>
                <a:gd name="T6" fmla="*/ 2147483647 w 5918"/>
                <a:gd name="T7" fmla="*/ 2147483647 h 7906"/>
                <a:gd name="T8" fmla="*/ 2147483647 w 5918"/>
                <a:gd name="T9" fmla="*/ 2147483647 h 7906"/>
                <a:gd name="T10" fmla="*/ 2147483647 w 5918"/>
                <a:gd name="T11" fmla="*/ 0 h 7906"/>
                <a:gd name="T12" fmla="*/ 0 w 5918"/>
                <a:gd name="T13" fmla="*/ 2147483647 h 790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18"/>
                <a:gd name="T22" fmla="*/ 0 h 7906"/>
                <a:gd name="T23" fmla="*/ 5918 w 5918"/>
                <a:gd name="T24" fmla="*/ 7906 h 790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18" h="7906">
                  <a:moveTo>
                    <a:pt x="0" y="93"/>
                  </a:moveTo>
                  <a:lnTo>
                    <a:pt x="5051" y="1023"/>
                  </a:lnTo>
                  <a:lnTo>
                    <a:pt x="4958" y="7906"/>
                  </a:lnTo>
                  <a:lnTo>
                    <a:pt x="5732" y="7876"/>
                  </a:lnTo>
                  <a:lnTo>
                    <a:pt x="5918" y="868"/>
                  </a:lnTo>
                  <a:lnTo>
                    <a:pt x="341" y="0"/>
                  </a:lnTo>
                  <a:lnTo>
                    <a:pt x="0" y="93"/>
                  </a:lnTo>
                  <a:close/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0" name="Freeform 28"/>
            <p:cNvSpPr>
              <a:spLocks/>
            </p:cNvSpPr>
            <p:nvPr/>
          </p:nvSpPr>
          <p:spPr bwMode="auto">
            <a:xfrm>
              <a:off x="3182938" y="5049838"/>
              <a:ext cx="500063" cy="73025"/>
            </a:xfrm>
            <a:custGeom>
              <a:avLst/>
              <a:gdLst>
                <a:gd name="T0" fmla="*/ 0 w 9134"/>
                <a:gd name="T1" fmla="*/ 2147483647 h 1330"/>
                <a:gd name="T2" fmla="*/ 2147483647 w 9134"/>
                <a:gd name="T3" fmla="*/ 2147483647 h 1330"/>
                <a:gd name="T4" fmla="*/ 2147483647 w 9134"/>
                <a:gd name="T5" fmla="*/ 2147483647 h 1330"/>
                <a:gd name="T6" fmla="*/ 2147483647 w 9134"/>
                <a:gd name="T7" fmla="*/ 2147483647 h 1330"/>
                <a:gd name="T8" fmla="*/ 2147483647 w 9134"/>
                <a:gd name="T9" fmla="*/ 2147483647 h 1330"/>
                <a:gd name="T10" fmla="*/ 2147483647 w 9134"/>
                <a:gd name="T11" fmla="*/ 2147483647 h 1330"/>
                <a:gd name="T12" fmla="*/ 2147483647 w 9134"/>
                <a:gd name="T13" fmla="*/ 2147483647 h 1330"/>
                <a:gd name="T14" fmla="*/ 2147483647 w 9134"/>
                <a:gd name="T15" fmla="*/ 2147483647 h 1330"/>
                <a:gd name="T16" fmla="*/ 2147483647 w 9134"/>
                <a:gd name="T17" fmla="*/ 2147483647 h 1330"/>
                <a:gd name="T18" fmla="*/ 2147483647 w 9134"/>
                <a:gd name="T19" fmla="*/ 2147483647 h 1330"/>
                <a:gd name="T20" fmla="*/ 2147483647 w 9134"/>
                <a:gd name="T21" fmla="*/ 2147483647 h 1330"/>
                <a:gd name="T22" fmla="*/ 2147483647 w 9134"/>
                <a:gd name="T23" fmla="*/ 2147483647 h 1330"/>
                <a:gd name="T24" fmla="*/ 2147483647 w 9134"/>
                <a:gd name="T25" fmla="*/ 2147483647 h 1330"/>
                <a:gd name="T26" fmla="*/ 2147483647 w 9134"/>
                <a:gd name="T27" fmla="*/ 2147483647 h 1330"/>
                <a:gd name="T28" fmla="*/ 2147483647 w 9134"/>
                <a:gd name="T29" fmla="*/ 2147483647 h 1330"/>
                <a:gd name="T30" fmla="*/ 2147483647 w 9134"/>
                <a:gd name="T31" fmla="*/ 2147483647 h 1330"/>
                <a:gd name="T32" fmla="*/ 2147483647 w 9134"/>
                <a:gd name="T33" fmla="*/ 2147483647 h 1330"/>
                <a:gd name="T34" fmla="*/ 2147483647 w 9134"/>
                <a:gd name="T35" fmla="*/ 2147483647 h 1330"/>
                <a:gd name="T36" fmla="*/ 2147483647 w 9134"/>
                <a:gd name="T37" fmla="*/ 2147483647 h 1330"/>
                <a:gd name="T38" fmla="*/ 2147483647 w 9134"/>
                <a:gd name="T39" fmla="*/ 2147483647 h 1330"/>
                <a:gd name="T40" fmla="*/ 2147483647 w 9134"/>
                <a:gd name="T41" fmla="*/ 2147483647 h 1330"/>
                <a:gd name="T42" fmla="*/ 2147483647 w 9134"/>
                <a:gd name="T43" fmla="*/ 2147483647 h 1330"/>
                <a:gd name="T44" fmla="*/ 2147483647 w 9134"/>
                <a:gd name="T45" fmla="*/ 2147483647 h 1330"/>
                <a:gd name="T46" fmla="*/ 2147483647 w 9134"/>
                <a:gd name="T47" fmla="*/ 2147483647 h 1330"/>
                <a:gd name="T48" fmla="*/ 2147483647 w 9134"/>
                <a:gd name="T49" fmla="*/ 2147483647 h 1330"/>
                <a:gd name="T50" fmla="*/ 2147483647 w 9134"/>
                <a:gd name="T51" fmla="*/ 2147483647 h 1330"/>
                <a:gd name="T52" fmla="*/ 2147483647 w 9134"/>
                <a:gd name="T53" fmla="*/ 2147483647 h 1330"/>
                <a:gd name="T54" fmla="*/ 2147483647 w 9134"/>
                <a:gd name="T55" fmla="*/ 2147483647 h 1330"/>
                <a:gd name="T56" fmla="*/ 2147483647 w 9134"/>
                <a:gd name="T57" fmla="*/ 2147483647 h 1330"/>
                <a:gd name="T58" fmla="*/ 2147483647 w 9134"/>
                <a:gd name="T59" fmla="*/ 0 h 1330"/>
                <a:gd name="T60" fmla="*/ 2147483647 w 9134"/>
                <a:gd name="T61" fmla="*/ 2147483647 h 133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134"/>
                <a:gd name="T94" fmla="*/ 0 h 1330"/>
                <a:gd name="T95" fmla="*/ 9134 w 9134"/>
                <a:gd name="T96" fmla="*/ 1330 h 133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134" h="1330">
                  <a:moveTo>
                    <a:pt x="0" y="1291"/>
                  </a:moveTo>
                  <a:lnTo>
                    <a:pt x="285" y="1314"/>
                  </a:lnTo>
                  <a:lnTo>
                    <a:pt x="571" y="1328"/>
                  </a:lnTo>
                  <a:lnTo>
                    <a:pt x="860" y="1330"/>
                  </a:lnTo>
                  <a:lnTo>
                    <a:pt x="1151" y="1323"/>
                  </a:lnTo>
                  <a:lnTo>
                    <a:pt x="1444" y="1306"/>
                  </a:lnTo>
                  <a:lnTo>
                    <a:pt x="1739" y="1281"/>
                  </a:lnTo>
                  <a:lnTo>
                    <a:pt x="2035" y="1248"/>
                  </a:lnTo>
                  <a:lnTo>
                    <a:pt x="2332" y="1208"/>
                  </a:lnTo>
                  <a:lnTo>
                    <a:pt x="2630" y="1162"/>
                  </a:lnTo>
                  <a:lnTo>
                    <a:pt x="2928" y="1111"/>
                  </a:lnTo>
                  <a:lnTo>
                    <a:pt x="3226" y="1054"/>
                  </a:lnTo>
                  <a:lnTo>
                    <a:pt x="3525" y="994"/>
                  </a:lnTo>
                  <a:lnTo>
                    <a:pt x="3824" y="929"/>
                  </a:lnTo>
                  <a:lnTo>
                    <a:pt x="4122" y="863"/>
                  </a:lnTo>
                  <a:lnTo>
                    <a:pt x="4419" y="794"/>
                  </a:lnTo>
                  <a:lnTo>
                    <a:pt x="4715" y="724"/>
                  </a:lnTo>
                  <a:lnTo>
                    <a:pt x="5304" y="582"/>
                  </a:lnTo>
                  <a:lnTo>
                    <a:pt x="5887" y="444"/>
                  </a:lnTo>
                  <a:lnTo>
                    <a:pt x="6176" y="379"/>
                  </a:lnTo>
                  <a:lnTo>
                    <a:pt x="6461" y="316"/>
                  </a:lnTo>
                  <a:lnTo>
                    <a:pt x="6745" y="256"/>
                  </a:lnTo>
                  <a:lnTo>
                    <a:pt x="7025" y="201"/>
                  </a:lnTo>
                  <a:lnTo>
                    <a:pt x="7302" y="151"/>
                  </a:lnTo>
                  <a:lnTo>
                    <a:pt x="7576" y="107"/>
                  </a:lnTo>
                  <a:lnTo>
                    <a:pt x="7846" y="71"/>
                  </a:lnTo>
                  <a:lnTo>
                    <a:pt x="8113" y="40"/>
                  </a:lnTo>
                  <a:lnTo>
                    <a:pt x="8375" y="17"/>
                  </a:lnTo>
                  <a:lnTo>
                    <a:pt x="8632" y="4"/>
                  </a:lnTo>
                  <a:lnTo>
                    <a:pt x="8885" y="0"/>
                  </a:lnTo>
                  <a:lnTo>
                    <a:pt x="9134" y="6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1" name="Line 29"/>
            <p:cNvSpPr>
              <a:spLocks noChangeShapeType="1"/>
            </p:cNvSpPr>
            <p:nvPr/>
          </p:nvSpPr>
          <p:spPr bwMode="auto">
            <a:xfrm flipH="1" flipV="1">
              <a:off x="3659188" y="5275263"/>
              <a:ext cx="38100" cy="14288"/>
            </a:xfrm>
            <a:prstGeom prst="line">
              <a:avLst/>
            </a:pr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2" name="Freeform 30"/>
            <p:cNvSpPr>
              <a:spLocks/>
            </p:cNvSpPr>
            <p:nvPr/>
          </p:nvSpPr>
          <p:spPr bwMode="auto">
            <a:xfrm>
              <a:off x="2863850" y="4897438"/>
              <a:ext cx="323850" cy="434975"/>
            </a:xfrm>
            <a:custGeom>
              <a:avLst/>
              <a:gdLst>
                <a:gd name="T0" fmla="*/ 2147483647 w 5930"/>
                <a:gd name="T1" fmla="*/ 2147483647 h 7934"/>
                <a:gd name="T2" fmla="*/ 2147483647 w 5930"/>
                <a:gd name="T3" fmla="*/ 2147483647 h 7934"/>
                <a:gd name="T4" fmla="*/ 2147483647 w 5930"/>
                <a:gd name="T5" fmla="*/ 2147483647 h 7934"/>
                <a:gd name="T6" fmla="*/ 2147483647 w 5930"/>
                <a:gd name="T7" fmla="*/ 2147483647 h 7934"/>
                <a:gd name="T8" fmla="*/ 2147483647 w 5930"/>
                <a:gd name="T9" fmla="*/ 0 h 7934"/>
                <a:gd name="T10" fmla="*/ 0 w 5930"/>
                <a:gd name="T11" fmla="*/ 2147483647 h 7934"/>
                <a:gd name="T12" fmla="*/ 2147483647 w 5930"/>
                <a:gd name="T13" fmla="*/ 2147483647 h 79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30"/>
                <a:gd name="T22" fmla="*/ 0 h 7934"/>
                <a:gd name="T23" fmla="*/ 5930 w 5930"/>
                <a:gd name="T24" fmla="*/ 7934 h 79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30" h="7934">
                  <a:moveTo>
                    <a:pt x="4992" y="1070"/>
                  </a:moveTo>
                  <a:lnTo>
                    <a:pt x="4912" y="7934"/>
                  </a:lnTo>
                  <a:lnTo>
                    <a:pt x="5736" y="7901"/>
                  </a:lnTo>
                  <a:lnTo>
                    <a:pt x="5930" y="908"/>
                  </a:lnTo>
                  <a:lnTo>
                    <a:pt x="339" y="0"/>
                  </a:lnTo>
                  <a:lnTo>
                    <a:pt x="0" y="98"/>
                  </a:lnTo>
                  <a:lnTo>
                    <a:pt x="4992" y="1070"/>
                  </a:lnTo>
                  <a:close/>
                </a:path>
              </a:pathLst>
            </a:custGeom>
            <a:solidFill>
              <a:srgbClr val="DEDE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3" name="Freeform 31"/>
            <p:cNvSpPr>
              <a:spLocks/>
            </p:cNvSpPr>
            <p:nvPr/>
          </p:nvSpPr>
          <p:spPr bwMode="auto">
            <a:xfrm>
              <a:off x="2863850" y="4897438"/>
              <a:ext cx="323850" cy="434975"/>
            </a:xfrm>
            <a:custGeom>
              <a:avLst/>
              <a:gdLst>
                <a:gd name="T0" fmla="*/ 2147483647 w 5930"/>
                <a:gd name="T1" fmla="*/ 2147483647 h 7934"/>
                <a:gd name="T2" fmla="*/ 2147483647 w 5930"/>
                <a:gd name="T3" fmla="*/ 2147483647 h 7934"/>
                <a:gd name="T4" fmla="*/ 2147483647 w 5930"/>
                <a:gd name="T5" fmla="*/ 2147483647 h 7934"/>
                <a:gd name="T6" fmla="*/ 2147483647 w 5930"/>
                <a:gd name="T7" fmla="*/ 2147483647 h 7934"/>
                <a:gd name="T8" fmla="*/ 2147483647 w 5930"/>
                <a:gd name="T9" fmla="*/ 0 h 7934"/>
                <a:gd name="T10" fmla="*/ 0 w 5930"/>
                <a:gd name="T11" fmla="*/ 2147483647 h 7934"/>
                <a:gd name="T12" fmla="*/ 2147483647 w 5930"/>
                <a:gd name="T13" fmla="*/ 2147483647 h 79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30"/>
                <a:gd name="T22" fmla="*/ 0 h 7934"/>
                <a:gd name="T23" fmla="*/ 5930 w 5930"/>
                <a:gd name="T24" fmla="*/ 7934 h 79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30" h="7934">
                  <a:moveTo>
                    <a:pt x="4992" y="1070"/>
                  </a:moveTo>
                  <a:lnTo>
                    <a:pt x="4912" y="7934"/>
                  </a:lnTo>
                  <a:lnTo>
                    <a:pt x="5736" y="7901"/>
                  </a:lnTo>
                  <a:lnTo>
                    <a:pt x="5930" y="908"/>
                  </a:lnTo>
                  <a:lnTo>
                    <a:pt x="339" y="0"/>
                  </a:lnTo>
                  <a:lnTo>
                    <a:pt x="0" y="98"/>
                  </a:lnTo>
                  <a:lnTo>
                    <a:pt x="4992" y="1070"/>
                  </a:lnTo>
                  <a:close/>
                </a:path>
              </a:pathLst>
            </a:custGeom>
            <a:solidFill>
              <a:schemeClr val="tx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514" name="Freeform 32"/>
            <p:cNvSpPr>
              <a:spLocks/>
            </p:cNvSpPr>
            <p:nvPr/>
          </p:nvSpPr>
          <p:spPr bwMode="auto">
            <a:xfrm>
              <a:off x="3190875" y="4962525"/>
              <a:ext cx="512763" cy="87313"/>
            </a:xfrm>
            <a:custGeom>
              <a:avLst/>
              <a:gdLst>
                <a:gd name="T0" fmla="*/ 0 w 9374"/>
                <a:gd name="T1" fmla="*/ 2147483647 h 1592"/>
                <a:gd name="T2" fmla="*/ 2147483647 w 9374"/>
                <a:gd name="T3" fmla="*/ 0 h 1592"/>
                <a:gd name="T4" fmla="*/ 2147483647 w 9374"/>
                <a:gd name="T5" fmla="*/ 2147483647 h 1592"/>
                <a:gd name="T6" fmla="*/ 0 60000 65536"/>
                <a:gd name="T7" fmla="*/ 0 60000 65536"/>
                <a:gd name="T8" fmla="*/ 0 60000 65536"/>
                <a:gd name="T9" fmla="*/ 0 w 9374"/>
                <a:gd name="T10" fmla="*/ 0 h 1592"/>
                <a:gd name="T11" fmla="*/ 9374 w 9374"/>
                <a:gd name="T12" fmla="*/ 1592 h 159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374" h="1592">
                  <a:moveTo>
                    <a:pt x="0" y="739"/>
                  </a:moveTo>
                  <a:lnTo>
                    <a:pt x="4658" y="0"/>
                  </a:lnTo>
                  <a:lnTo>
                    <a:pt x="9374" y="1592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5" name="Line 33"/>
            <p:cNvSpPr>
              <a:spLocks noChangeShapeType="1"/>
            </p:cNvSpPr>
            <p:nvPr/>
          </p:nvSpPr>
          <p:spPr bwMode="auto">
            <a:xfrm>
              <a:off x="3427413" y="4867275"/>
              <a:ext cx="3175" cy="101600"/>
            </a:xfrm>
            <a:prstGeom prst="line">
              <a:avLst/>
            </a:pr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6" name="Freeform 34"/>
            <p:cNvSpPr>
              <a:spLocks/>
            </p:cNvSpPr>
            <p:nvPr/>
          </p:nvSpPr>
          <p:spPr bwMode="auto">
            <a:xfrm>
              <a:off x="2857500" y="4903788"/>
              <a:ext cx="273050" cy="427038"/>
            </a:xfrm>
            <a:custGeom>
              <a:avLst/>
              <a:gdLst>
                <a:gd name="T0" fmla="*/ 2147483647 w 4995"/>
                <a:gd name="T1" fmla="*/ 0 h 7805"/>
                <a:gd name="T2" fmla="*/ 0 w 4995"/>
                <a:gd name="T3" fmla="*/ 2147483647 h 7805"/>
                <a:gd name="T4" fmla="*/ 2147483647 w 4995"/>
                <a:gd name="T5" fmla="*/ 2147483647 h 7805"/>
                <a:gd name="T6" fmla="*/ 0 60000 65536"/>
                <a:gd name="T7" fmla="*/ 0 60000 65536"/>
                <a:gd name="T8" fmla="*/ 0 60000 65536"/>
                <a:gd name="T9" fmla="*/ 0 w 4995"/>
                <a:gd name="T10" fmla="*/ 0 h 7805"/>
                <a:gd name="T11" fmla="*/ 4995 w 4995"/>
                <a:gd name="T12" fmla="*/ 7805 h 780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995" h="7805">
                  <a:moveTo>
                    <a:pt x="93" y="0"/>
                  </a:moveTo>
                  <a:lnTo>
                    <a:pt x="0" y="5639"/>
                  </a:lnTo>
                  <a:lnTo>
                    <a:pt x="4995" y="7805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7" name="Freeform 35"/>
            <p:cNvSpPr>
              <a:spLocks/>
            </p:cNvSpPr>
            <p:nvPr/>
          </p:nvSpPr>
          <p:spPr bwMode="auto">
            <a:xfrm>
              <a:off x="3181350" y="4964113"/>
              <a:ext cx="520700" cy="338138"/>
            </a:xfrm>
            <a:custGeom>
              <a:avLst/>
              <a:gdLst>
                <a:gd name="T0" fmla="*/ 2147483647 w 9528"/>
                <a:gd name="T1" fmla="*/ 2147483647 h 6192"/>
                <a:gd name="T2" fmla="*/ 2147483647 w 9528"/>
                <a:gd name="T3" fmla="*/ 2147483647 h 6192"/>
                <a:gd name="T4" fmla="*/ 2147483647 w 9528"/>
                <a:gd name="T5" fmla="*/ 2147483647 h 6192"/>
                <a:gd name="T6" fmla="*/ 2147483647 w 9528"/>
                <a:gd name="T7" fmla="*/ 2147483647 h 6192"/>
                <a:gd name="T8" fmla="*/ 2147483647 w 9528"/>
                <a:gd name="T9" fmla="*/ 2147483647 h 6192"/>
                <a:gd name="T10" fmla="*/ 2147483647 w 9528"/>
                <a:gd name="T11" fmla="*/ 2147483647 h 6192"/>
                <a:gd name="T12" fmla="*/ 2147483647 w 9528"/>
                <a:gd name="T13" fmla="*/ 2147483647 h 6192"/>
                <a:gd name="T14" fmla="*/ 2147483647 w 9528"/>
                <a:gd name="T15" fmla="*/ 2147483647 h 6192"/>
                <a:gd name="T16" fmla="*/ 2147483647 w 9528"/>
                <a:gd name="T17" fmla="*/ 2147483647 h 6192"/>
                <a:gd name="T18" fmla="*/ 2147483647 w 9528"/>
                <a:gd name="T19" fmla="*/ 2147483647 h 6192"/>
                <a:gd name="T20" fmla="*/ 2147483647 w 9528"/>
                <a:gd name="T21" fmla="*/ 2147483647 h 6192"/>
                <a:gd name="T22" fmla="*/ 2147483647 w 9528"/>
                <a:gd name="T23" fmla="*/ 2147483647 h 6192"/>
                <a:gd name="T24" fmla="*/ 2147483647 w 9528"/>
                <a:gd name="T25" fmla="*/ 2147483647 h 6192"/>
                <a:gd name="T26" fmla="*/ 2147483647 w 9528"/>
                <a:gd name="T27" fmla="*/ 2147483647 h 6192"/>
                <a:gd name="T28" fmla="*/ 2147483647 w 9528"/>
                <a:gd name="T29" fmla="*/ 2147483647 h 6192"/>
                <a:gd name="T30" fmla="*/ 2147483647 w 9528"/>
                <a:gd name="T31" fmla="*/ 2147483647 h 6192"/>
                <a:gd name="T32" fmla="*/ 2147483647 w 9528"/>
                <a:gd name="T33" fmla="*/ 2147483647 h 6192"/>
                <a:gd name="T34" fmla="*/ 2147483647 w 9528"/>
                <a:gd name="T35" fmla="*/ 2147483647 h 6192"/>
                <a:gd name="T36" fmla="*/ 2147483647 w 9528"/>
                <a:gd name="T37" fmla="*/ 2147483647 h 6192"/>
                <a:gd name="T38" fmla="*/ 2147483647 w 9528"/>
                <a:gd name="T39" fmla="*/ 2147483647 h 6192"/>
                <a:gd name="T40" fmla="*/ 2147483647 w 9528"/>
                <a:gd name="T41" fmla="*/ 2147483647 h 6192"/>
                <a:gd name="T42" fmla="*/ 2147483647 w 9528"/>
                <a:gd name="T43" fmla="*/ 2147483647 h 6192"/>
                <a:gd name="T44" fmla="*/ 2147483647 w 9528"/>
                <a:gd name="T45" fmla="*/ 2147483647 h 6192"/>
                <a:gd name="T46" fmla="*/ 2147483647 w 9528"/>
                <a:gd name="T47" fmla="*/ 2147483647 h 6192"/>
                <a:gd name="T48" fmla="*/ 2147483647 w 9528"/>
                <a:gd name="T49" fmla="*/ 2147483647 h 6192"/>
                <a:gd name="T50" fmla="*/ 2147483647 w 9528"/>
                <a:gd name="T51" fmla="*/ 2147483647 h 6192"/>
                <a:gd name="T52" fmla="*/ 2147483647 w 9528"/>
                <a:gd name="T53" fmla="*/ 2147483647 h 6192"/>
                <a:gd name="T54" fmla="*/ 2147483647 w 9528"/>
                <a:gd name="T55" fmla="*/ 2147483647 h 6192"/>
                <a:gd name="T56" fmla="*/ 2147483647 w 9528"/>
                <a:gd name="T57" fmla="*/ 2147483647 h 6192"/>
                <a:gd name="T58" fmla="*/ 2147483647 w 9528"/>
                <a:gd name="T59" fmla="*/ 2147483647 h 6192"/>
                <a:gd name="T60" fmla="*/ 2147483647 w 9528"/>
                <a:gd name="T61" fmla="*/ 2147483647 h 6192"/>
                <a:gd name="T62" fmla="*/ 2147483647 w 9528"/>
                <a:gd name="T63" fmla="*/ 2147483647 h 6192"/>
                <a:gd name="T64" fmla="*/ 2147483647 w 9528"/>
                <a:gd name="T65" fmla="*/ 2147483647 h 6192"/>
                <a:gd name="T66" fmla="*/ 2147483647 w 9528"/>
                <a:gd name="T67" fmla="*/ 2147483647 h 6192"/>
                <a:gd name="T68" fmla="*/ 2147483647 w 9528"/>
                <a:gd name="T69" fmla="*/ 2147483647 h 6192"/>
                <a:gd name="T70" fmla="*/ 2147483647 w 9528"/>
                <a:gd name="T71" fmla="*/ 2147483647 h 6192"/>
                <a:gd name="T72" fmla="*/ 2147483647 w 9528"/>
                <a:gd name="T73" fmla="*/ 2147483647 h 6192"/>
                <a:gd name="T74" fmla="*/ 2147483647 w 9528"/>
                <a:gd name="T75" fmla="*/ 2147483647 h 6192"/>
                <a:gd name="T76" fmla="*/ 2147483647 w 9528"/>
                <a:gd name="T77" fmla="*/ 2147483647 h 6192"/>
                <a:gd name="T78" fmla="*/ 2147483647 w 9528"/>
                <a:gd name="T79" fmla="*/ 2147483647 h 6192"/>
                <a:gd name="T80" fmla="*/ 2147483647 w 9528"/>
                <a:gd name="T81" fmla="*/ 2147483647 h 6192"/>
                <a:gd name="T82" fmla="*/ 2147483647 w 9528"/>
                <a:gd name="T83" fmla="*/ 2147483647 h 6192"/>
                <a:gd name="T84" fmla="*/ 2147483647 w 9528"/>
                <a:gd name="T85" fmla="*/ 2147483647 h 6192"/>
                <a:gd name="T86" fmla="*/ 2147483647 w 9528"/>
                <a:gd name="T87" fmla="*/ 2147483647 h 6192"/>
                <a:gd name="T88" fmla="*/ 2147483647 w 9528"/>
                <a:gd name="T89" fmla="*/ 2147483647 h 6192"/>
                <a:gd name="T90" fmla="*/ 2147483647 w 9528"/>
                <a:gd name="T91" fmla="*/ 2147483647 h 6192"/>
                <a:gd name="T92" fmla="*/ 2147483647 w 9528"/>
                <a:gd name="T93" fmla="*/ 2147483647 h 6192"/>
                <a:gd name="T94" fmla="*/ 2147483647 w 9528"/>
                <a:gd name="T95" fmla="*/ 2147483647 h 6192"/>
                <a:gd name="T96" fmla="*/ 2147483647 w 9528"/>
                <a:gd name="T97" fmla="*/ 2147483647 h 6192"/>
                <a:gd name="T98" fmla="*/ 2147483647 w 9528"/>
                <a:gd name="T99" fmla="*/ 2147483647 h 6192"/>
                <a:gd name="T100" fmla="*/ 2147483647 w 9528"/>
                <a:gd name="T101" fmla="*/ 2147483647 h 6192"/>
                <a:gd name="T102" fmla="*/ 2147483647 w 9528"/>
                <a:gd name="T103" fmla="*/ 2147483647 h 6192"/>
                <a:gd name="T104" fmla="*/ 2147483647 w 9528"/>
                <a:gd name="T105" fmla="*/ 2147483647 h 6192"/>
                <a:gd name="T106" fmla="*/ 2147483647 w 9528"/>
                <a:gd name="T107" fmla="*/ 2147483647 h 6192"/>
                <a:gd name="T108" fmla="*/ 2147483647 w 9528"/>
                <a:gd name="T109" fmla="*/ 2147483647 h 6192"/>
                <a:gd name="T110" fmla="*/ 2147483647 w 9528"/>
                <a:gd name="T111" fmla="*/ 2147483647 h 6192"/>
                <a:gd name="T112" fmla="*/ 2147483647 w 9528"/>
                <a:gd name="T113" fmla="*/ 2147483647 h 6192"/>
                <a:gd name="T114" fmla="*/ 2147483647 w 9528"/>
                <a:gd name="T115" fmla="*/ 2147483647 h 6192"/>
                <a:gd name="T116" fmla="*/ 2147483647 w 9528"/>
                <a:gd name="T117" fmla="*/ 2147483647 h 6192"/>
                <a:gd name="T118" fmla="*/ 2147483647 w 9528"/>
                <a:gd name="T119" fmla="*/ 0 h 61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28"/>
                <a:gd name="T181" fmla="*/ 0 h 6192"/>
                <a:gd name="T182" fmla="*/ 9528 w 9528"/>
                <a:gd name="T183" fmla="*/ 6192 h 61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28" h="6192">
                  <a:moveTo>
                    <a:pt x="0" y="6010"/>
                  </a:moveTo>
                  <a:lnTo>
                    <a:pt x="47" y="6015"/>
                  </a:lnTo>
                  <a:lnTo>
                    <a:pt x="179" y="6029"/>
                  </a:lnTo>
                  <a:lnTo>
                    <a:pt x="386" y="6049"/>
                  </a:lnTo>
                  <a:lnTo>
                    <a:pt x="656" y="6074"/>
                  </a:lnTo>
                  <a:lnTo>
                    <a:pt x="813" y="6086"/>
                  </a:lnTo>
                  <a:lnTo>
                    <a:pt x="980" y="6100"/>
                  </a:lnTo>
                  <a:lnTo>
                    <a:pt x="1158" y="6113"/>
                  </a:lnTo>
                  <a:lnTo>
                    <a:pt x="1345" y="6127"/>
                  </a:lnTo>
                  <a:lnTo>
                    <a:pt x="1540" y="6139"/>
                  </a:lnTo>
                  <a:lnTo>
                    <a:pt x="1740" y="6151"/>
                  </a:lnTo>
                  <a:lnTo>
                    <a:pt x="1946" y="6162"/>
                  </a:lnTo>
                  <a:lnTo>
                    <a:pt x="2156" y="6172"/>
                  </a:lnTo>
                  <a:lnTo>
                    <a:pt x="2368" y="6180"/>
                  </a:lnTo>
                  <a:lnTo>
                    <a:pt x="2580" y="6186"/>
                  </a:lnTo>
                  <a:lnTo>
                    <a:pt x="2792" y="6190"/>
                  </a:lnTo>
                  <a:lnTo>
                    <a:pt x="3001" y="6192"/>
                  </a:lnTo>
                  <a:lnTo>
                    <a:pt x="3209" y="6191"/>
                  </a:lnTo>
                  <a:lnTo>
                    <a:pt x="3411" y="6188"/>
                  </a:lnTo>
                  <a:lnTo>
                    <a:pt x="3606" y="6181"/>
                  </a:lnTo>
                  <a:lnTo>
                    <a:pt x="3794" y="6172"/>
                  </a:lnTo>
                  <a:lnTo>
                    <a:pt x="3974" y="6157"/>
                  </a:lnTo>
                  <a:lnTo>
                    <a:pt x="4143" y="6140"/>
                  </a:lnTo>
                  <a:lnTo>
                    <a:pt x="4301" y="6118"/>
                  </a:lnTo>
                  <a:lnTo>
                    <a:pt x="4446" y="6092"/>
                  </a:lnTo>
                  <a:lnTo>
                    <a:pt x="4577" y="6061"/>
                  </a:lnTo>
                  <a:lnTo>
                    <a:pt x="4692" y="6025"/>
                  </a:lnTo>
                  <a:lnTo>
                    <a:pt x="4789" y="5984"/>
                  </a:lnTo>
                  <a:lnTo>
                    <a:pt x="4869" y="5938"/>
                  </a:lnTo>
                  <a:lnTo>
                    <a:pt x="4936" y="5889"/>
                  </a:lnTo>
                  <a:lnTo>
                    <a:pt x="5000" y="5841"/>
                  </a:lnTo>
                  <a:lnTo>
                    <a:pt x="5060" y="5794"/>
                  </a:lnTo>
                  <a:lnTo>
                    <a:pt x="5116" y="5748"/>
                  </a:lnTo>
                  <a:lnTo>
                    <a:pt x="5169" y="5704"/>
                  </a:lnTo>
                  <a:lnTo>
                    <a:pt x="5219" y="5661"/>
                  </a:lnTo>
                  <a:lnTo>
                    <a:pt x="5267" y="5620"/>
                  </a:lnTo>
                  <a:lnTo>
                    <a:pt x="5312" y="5580"/>
                  </a:lnTo>
                  <a:lnTo>
                    <a:pt x="5354" y="5542"/>
                  </a:lnTo>
                  <a:lnTo>
                    <a:pt x="5395" y="5507"/>
                  </a:lnTo>
                  <a:lnTo>
                    <a:pt x="5435" y="5473"/>
                  </a:lnTo>
                  <a:lnTo>
                    <a:pt x="5474" y="5440"/>
                  </a:lnTo>
                  <a:lnTo>
                    <a:pt x="5511" y="5411"/>
                  </a:lnTo>
                  <a:lnTo>
                    <a:pt x="5547" y="5384"/>
                  </a:lnTo>
                  <a:lnTo>
                    <a:pt x="5584" y="5359"/>
                  </a:lnTo>
                  <a:lnTo>
                    <a:pt x="5620" y="5336"/>
                  </a:lnTo>
                  <a:lnTo>
                    <a:pt x="5657" y="5317"/>
                  </a:lnTo>
                  <a:lnTo>
                    <a:pt x="5693" y="5299"/>
                  </a:lnTo>
                  <a:lnTo>
                    <a:pt x="5731" y="5285"/>
                  </a:lnTo>
                  <a:lnTo>
                    <a:pt x="5770" y="5275"/>
                  </a:lnTo>
                  <a:lnTo>
                    <a:pt x="5810" y="5267"/>
                  </a:lnTo>
                  <a:lnTo>
                    <a:pt x="5851" y="5262"/>
                  </a:lnTo>
                  <a:lnTo>
                    <a:pt x="5895" y="5260"/>
                  </a:lnTo>
                  <a:lnTo>
                    <a:pt x="5941" y="5262"/>
                  </a:lnTo>
                  <a:lnTo>
                    <a:pt x="5989" y="5267"/>
                  </a:lnTo>
                  <a:lnTo>
                    <a:pt x="6040" y="5276"/>
                  </a:lnTo>
                  <a:lnTo>
                    <a:pt x="6093" y="5288"/>
                  </a:lnTo>
                  <a:lnTo>
                    <a:pt x="6150" y="5305"/>
                  </a:lnTo>
                  <a:lnTo>
                    <a:pt x="6212" y="5325"/>
                  </a:lnTo>
                  <a:lnTo>
                    <a:pt x="6276" y="5348"/>
                  </a:lnTo>
                  <a:lnTo>
                    <a:pt x="6345" y="5377"/>
                  </a:lnTo>
                  <a:lnTo>
                    <a:pt x="6418" y="5410"/>
                  </a:lnTo>
                  <a:lnTo>
                    <a:pt x="6496" y="5444"/>
                  </a:lnTo>
                  <a:lnTo>
                    <a:pt x="6580" y="5476"/>
                  </a:lnTo>
                  <a:lnTo>
                    <a:pt x="6670" y="5506"/>
                  </a:lnTo>
                  <a:lnTo>
                    <a:pt x="6763" y="5533"/>
                  </a:lnTo>
                  <a:lnTo>
                    <a:pt x="6861" y="5559"/>
                  </a:lnTo>
                  <a:lnTo>
                    <a:pt x="6962" y="5582"/>
                  </a:lnTo>
                  <a:lnTo>
                    <a:pt x="7067" y="5604"/>
                  </a:lnTo>
                  <a:lnTo>
                    <a:pt x="7174" y="5623"/>
                  </a:lnTo>
                  <a:lnTo>
                    <a:pt x="7283" y="5641"/>
                  </a:lnTo>
                  <a:lnTo>
                    <a:pt x="7394" y="5656"/>
                  </a:lnTo>
                  <a:lnTo>
                    <a:pt x="7508" y="5668"/>
                  </a:lnTo>
                  <a:lnTo>
                    <a:pt x="7621" y="5679"/>
                  </a:lnTo>
                  <a:lnTo>
                    <a:pt x="7734" y="5689"/>
                  </a:lnTo>
                  <a:lnTo>
                    <a:pt x="7848" y="5696"/>
                  </a:lnTo>
                  <a:lnTo>
                    <a:pt x="7962" y="5700"/>
                  </a:lnTo>
                  <a:lnTo>
                    <a:pt x="8074" y="5703"/>
                  </a:lnTo>
                  <a:lnTo>
                    <a:pt x="8185" y="5703"/>
                  </a:lnTo>
                  <a:lnTo>
                    <a:pt x="8294" y="5702"/>
                  </a:lnTo>
                  <a:lnTo>
                    <a:pt x="8400" y="5698"/>
                  </a:lnTo>
                  <a:lnTo>
                    <a:pt x="8505" y="5693"/>
                  </a:lnTo>
                  <a:lnTo>
                    <a:pt x="8605" y="5684"/>
                  </a:lnTo>
                  <a:lnTo>
                    <a:pt x="8702" y="5674"/>
                  </a:lnTo>
                  <a:lnTo>
                    <a:pt x="8793" y="5663"/>
                  </a:lnTo>
                  <a:lnTo>
                    <a:pt x="8881" y="5649"/>
                  </a:lnTo>
                  <a:lnTo>
                    <a:pt x="8964" y="5632"/>
                  </a:lnTo>
                  <a:lnTo>
                    <a:pt x="9041" y="5614"/>
                  </a:lnTo>
                  <a:lnTo>
                    <a:pt x="9112" y="5594"/>
                  </a:lnTo>
                  <a:lnTo>
                    <a:pt x="9176" y="5571"/>
                  </a:lnTo>
                  <a:lnTo>
                    <a:pt x="9233" y="5547"/>
                  </a:lnTo>
                  <a:lnTo>
                    <a:pt x="9283" y="5520"/>
                  </a:lnTo>
                  <a:lnTo>
                    <a:pt x="9325" y="5491"/>
                  </a:lnTo>
                  <a:lnTo>
                    <a:pt x="9359" y="5460"/>
                  </a:lnTo>
                  <a:lnTo>
                    <a:pt x="9386" y="5419"/>
                  </a:lnTo>
                  <a:lnTo>
                    <a:pt x="9411" y="5360"/>
                  </a:lnTo>
                  <a:lnTo>
                    <a:pt x="9432" y="5285"/>
                  </a:lnTo>
                  <a:lnTo>
                    <a:pt x="9452" y="5194"/>
                  </a:lnTo>
                  <a:lnTo>
                    <a:pt x="9468" y="5090"/>
                  </a:lnTo>
                  <a:lnTo>
                    <a:pt x="9482" y="4973"/>
                  </a:lnTo>
                  <a:lnTo>
                    <a:pt x="9494" y="4845"/>
                  </a:lnTo>
                  <a:lnTo>
                    <a:pt x="9505" y="4706"/>
                  </a:lnTo>
                  <a:lnTo>
                    <a:pt x="9513" y="4558"/>
                  </a:lnTo>
                  <a:lnTo>
                    <a:pt x="9519" y="4403"/>
                  </a:lnTo>
                  <a:lnTo>
                    <a:pt x="9523" y="4241"/>
                  </a:lnTo>
                  <a:lnTo>
                    <a:pt x="9526" y="4075"/>
                  </a:lnTo>
                  <a:lnTo>
                    <a:pt x="9528" y="3903"/>
                  </a:lnTo>
                  <a:lnTo>
                    <a:pt x="9528" y="3730"/>
                  </a:lnTo>
                  <a:lnTo>
                    <a:pt x="9527" y="3555"/>
                  </a:lnTo>
                  <a:lnTo>
                    <a:pt x="9525" y="3380"/>
                  </a:lnTo>
                  <a:lnTo>
                    <a:pt x="9522" y="3205"/>
                  </a:lnTo>
                  <a:lnTo>
                    <a:pt x="9518" y="3032"/>
                  </a:lnTo>
                  <a:lnTo>
                    <a:pt x="9514" y="2864"/>
                  </a:lnTo>
                  <a:lnTo>
                    <a:pt x="9509" y="2700"/>
                  </a:lnTo>
                  <a:lnTo>
                    <a:pt x="9498" y="2391"/>
                  </a:lnTo>
                  <a:lnTo>
                    <a:pt x="9487" y="2116"/>
                  </a:lnTo>
                  <a:lnTo>
                    <a:pt x="9476" y="1886"/>
                  </a:lnTo>
                  <a:lnTo>
                    <a:pt x="9468" y="1708"/>
                  </a:lnTo>
                  <a:lnTo>
                    <a:pt x="9462" y="1594"/>
                  </a:lnTo>
                  <a:lnTo>
                    <a:pt x="9459" y="1555"/>
                  </a:lnTo>
                  <a:lnTo>
                    <a:pt x="4839" y="0"/>
                  </a:lnTo>
                  <a:lnTo>
                    <a:pt x="237" y="732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518" name="Freeform 36"/>
            <p:cNvSpPr>
              <a:spLocks/>
            </p:cNvSpPr>
            <p:nvPr/>
          </p:nvSpPr>
          <p:spPr bwMode="auto">
            <a:xfrm>
              <a:off x="3268663" y="4999038"/>
              <a:ext cx="176213" cy="84138"/>
            </a:xfrm>
            <a:custGeom>
              <a:avLst/>
              <a:gdLst>
                <a:gd name="T0" fmla="*/ 2147483647 w 3222"/>
                <a:gd name="T1" fmla="*/ 0 h 1550"/>
                <a:gd name="T2" fmla="*/ 2147483647 w 3222"/>
                <a:gd name="T3" fmla="*/ 2147483647 h 1550"/>
                <a:gd name="T4" fmla="*/ 2147483647 w 3222"/>
                <a:gd name="T5" fmla="*/ 2147483647 h 1550"/>
                <a:gd name="T6" fmla="*/ 0 w 3222"/>
                <a:gd name="T7" fmla="*/ 2147483647 h 1550"/>
                <a:gd name="T8" fmla="*/ 2147483647 w 3222"/>
                <a:gd name="T9" fmla="*/ 0 h 15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22"/>
                <a:gd name="T16" fmla="*/ 0 h 1550"/>
                <a:gd name="T17" fmla="*/ 3222 w 3222"/>
                <a:gd name="T18" fmla="*/ 1550 h 15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22" h="1550">
                  <a:moveTo>
                    <a:pt x="929" y="0"/>
                  </a:moveTo>
                  <a:lnTo>
                    <a:pt x="3222" y="341"/>
                  </a:lnTo>
                  <a:lnTo>
                    <a:pt x="2912" y="1550"/>
                  </a:lnTo>
                  <a:lnTo>
                    <a:pt x="0" y="868"/>
                  </a:lnTo>
                  <a:lnTo>
                    <a:pt x="929" y="0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19" name="Freeform 37"/>
            <p:cNvSpPr>
              <a:spLocks/>
            </p:cNvSpPr>
            <p:nvPr/>
          </p:nvSpPr>
          <p:spPr bwMode="auto">
            <a:xfrm>
              <a:off x="3408363" y="4972050"/>
              <a:ext cx="231775" cy="304800"/>
            </a:xfrm>
            <a:custGeom>
              <a:avLst/>
              <a:gdLst>
                <a:gd name="T0" fmla="*/ 0 w 4235"/>
                <a:gd name="T1" fmla="*/ 0 h 5558"/>
                <a:gd name="T2" fmla="*/ 2147483647 w 4235"/>
                <a:gd name="T3" fmla="*/ 2147483647 h 5558"/>
                <a:gd name="T4" fmla="*/ 2147483647 w 4235"/>
                <a:gd name="T5" fmla="*/ 2147483647 h 5558"/>
                <a:gd name="T6" fmla="*/ 2147483647 w 4235"/>
                <a:gd name="T7" fmla="*/ 2147483647 h 5558"/>
                <a:gd name="T8" fmla="*/ 2147483647 w 4235"/>
                <a:gd name="T9" fmla="*/ 2147483647 h 5558"/>
                <a:gd name="T10" fmla="*/ 2147483647 w 4235"/>
                <a:gd name="T11" fmla="*/ 2147483647 h 5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235"/>
                <a:gd name="T19" fmla="*/ 0 h 5558"/>
                <a:gd name="T20" fmla="*/ 4235 w 4235"/>
                <a:gd name="T21" fmla="*/ 5558 h 5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235" h="5558">
                  <a:moveTo>
                    <a:pt x="0" y="0"/>
                  </a:moveTo>
                  <a:lnTo>
                    <a:pt x="3764" y="1654"/>
                  </a:lnTo>
                  <a:lnTo>
                    <a:pt x="3912" y="5558"/>
                  </a:lnTo>
                  <a:lnTo>
                    <a:pt x="4191" y="5541"/>
                  </a:lnTo>
                  <a:lnTo>
                    <a:pt x="4235" y="1572"/>
                  </a:lnTo>
                  <a:lnTo>
                    <a:pt x="929" y="280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520" name="Freeform 38"/>
            <p:cNvSpPr>
              <a:spLocks/>
            </p:cNvSpPr>
            <p:nvPr/>
          </p:nvSpPr>
          <p:spPr bwMode="auto">
            <a:xfrm>
              <a:off x="3455988" y="4908550"/>
              <a:ext cx="230188" cy="127000"/>
            </a:xfrm>
            <a:custGeom>
              <a:avLst/>
              <a:gdLst>
                <a:gd name="T0" fmla="*/ 2147483647 w 4200"/>
                <a:gd name="T1" fmla="*/ 2147483647 h 2319"/>
                <a:gd name="T2" fmla="*/ 2147483647 w 4200"/>
                <a:gd name="T3" fmla="*/ 2147483647 h 2319"/>
                <a:gd name="T4" fmla="*/ 2147483647 w 4200"/>
                <a:gd name="T5" fmla="*/ 2147483647 h 2319"/>
                <a:gd name="T6" fmla="*/ 2147483647 w 4200"/>
                <a:gd name="T7" fmla="*/ 2147483647 h 2319"/>
                <a:gd name="T8" fmla="*/ 2147483647 w 4200"/>
                <a:gd name="T9" fmla="*/ 2147483647 h 2319"/>
                <a:gd name="T10" fmla="*/ 2147483647 w 4200"/>
                <a:gd name="T11" fmla="*/ 2147483647 h 2319"/>
                <a:gd name="T12" fmla="*/ 2147483647 w 4200"/>
                <a:gd name="T13" fmla="*/ 2147483647 h 2319"/>
                <a:gd name="T14" fmla="*/ 2147483647 w 4200"/>
                <a:gd name="T15" fmla="*/ 2147483647 h 2319"/>
                <a:gd name="T16" fmla="*/ 2147483647 w 4200"/>
                <a:gd name="T17" fmla="*/ 2147483647 h 2319"/>
                <a:gd name="T18" fmla="*/ 2147483647 w 4200"/>
                <a:gd name="T19" fmla="*/ 2147483647 h 2319"/>
                <a:gd name="T20" fmla="*/ 2147483647 w 4200"/>
                <a:gd name="T21" fmla="*/ 2147483647 h 2319"/>
                <a:gd name="T22" fmla="*/ 0 w 4200"/>
                <a:gd name="T23" fmla="*/ 2147483647 h 2319"/>
                <a:gd name="T24" fmla="*/ 2147483647 w 4200"/>
                <a:gd name="T25" fmla="*/ 2147483647 h 2319"/>
                <a:gd name="T26" fmla="*/ 2147483647 w 4200"/>
                <a:gd name="T27" fmla="*/ 2147483647 h 2319"/>
                <a:gd name="T28" fmla="*/ 2147483647 w 4200"/>
                <a:gd name="T29" fmla="*/ 2147483647 h 2319"/>
                <a:gd name="T30" fmla="*/ 2147483647 w 4200"/>
                <a:gd name="T31" fmla="*/ 2147483647 h 2319"/>
                <a:gd name="T32" fmla="*/ 2147483647 w 4200"/>
                <a:gd name="T33" fmla="*/ 2147483647 h 2319"/>
                <a:gd name="T34" fmla="*/ 2147483647 w 4200"/>
                <a:gd name="T35" fmla="*/ 2147483647 h 2319"/>
                <a:gd name="T36" fmla="*/ 2147483647 w 4200"/>
                <a:gd name="T37" fmla="*/ 2147483647 h 2319"/>
                <a:gd name="T38" fmla="*/ 2147483647 w 4200"/>
                <a:gd name="T39" fmla="*/ 2147483647 h 2319"/>
                <a:gd name="T40" fmla="*/ 2147483647 w 4200"/>
                <a:gd name="T41" fmla="*/ 2147483647 h 2319"/>
                <a:gd name="T42" fmla="*/ 2147483647 w 4200"/>
                <a:gd name="T43" fmla="*/ 2147483647 h 2319"/>
                <a:gd name="T44" fmla="*/ 2147483647 w 4200"/>
                <a:gd name="T45" fmla="*/ 2147483647 h 2319"/>
                <a:gd name="T46" fmla="*/ 2147483647 w 4200"/>
                <a:gd name="T47" fmla="*/ 0 h 2319"/>
                <a:gd name="T48" fmla="*/ 2147483647 w 4200"/>
                <a:gd name="T49" fmla="*/ 2147483647 h 2319"/>
                <a:gd name="T50" fmla="*/ 2147483647 w 4200"/>
                <a:gd name="T51" fmla="*/ 2147483647 h 2319"/>
                <a:gd name="T52" fmla="*/ 2147483647 w 4200"/>
                <a:gd name="T53" fmla="*/ 2147483647 h 2319"/>
                <a:gd name="T54" fmla="*/ 2147483647 w 4200"/>
                <a:gd name="T55" fmla="*/ 2147483647 h 2319"/>
                <a:gd name="T56" fmla="*/ 2147483647 w 4200"/>
                <a:gd name="T57" fmla="*/ 2147483647 h 2319"/>
                <a:gd name="T58" fmla="*/ 2147483647 w 4200"/>
                <a:gd name="T59" fmla="*/ 2147483647 h 2319"/>
                <a:gd name="T60" fmla="*/ 2147483647 w 4200"/>
                <a:gd name="T61" fmla="*/ 2147483647 h 2319"/>
                <a:gd name="T62" fmla="*/ 2147483647 w 4200"/>
                <a:gd name="T63" fmla="*/ 2147483647 h 2319"/>
                <a:gd name="T64" fmla="*/ 2147483647 w 4200"/>
                <a:gd name="T65" fmla="*/ 2147483647 h 2319"/>
                <a:gd name="T66" fmla="*/ 2147483647 w 4200"/>
                <a:gd name="T67" fmla="*/ 2147483647 h 2319"/>
                <a:gd name="T68" fmla="*/ 2147483647 w 4200"/>
                <a:gd name="T69" fmla="*/ 2147483647 h 2319"/>
                <a:gd name="T70" fmla="*/ 2147483647 w 4200"/>
                <a:gd name="T71" fmla="*/ 2147483647 h 2319"/>
                <a:gd name="T72" fmla="*/ 2147483647 w 4200"/>
                <a:gd name="T73" fmla="*/ 2147483647 h 2319"/>
                <a:gd name="T74" fmla="*/ 2147483647 w 4200"/>
                <a:gd name="T75" fmla="*/ 2147483647 h 2319"/>
                <a:gd name="T76" fmla="*/ 2147483647 w 4200"/>
                <a:gd name="T77" fmla="*/ 2147483647 h 2319"/>
                <a:gd name="T78" fmla="*/ 2147483647 w 4200"/>
                <a:gd name="T79" fmla="*/ 2147483647 h 2319"/>
                <a:gd name="T80" fmla="*/ 2147483647 w 4200"/>
                <a:gd name="T81" fmla="*/ 2147483647 h 2319"/>
                <a:gd name="T82" fmla="*/ 2147483647 w 4200"/>
                <a:gd name="T83" fmla="*/ 2147483647 h 2319"/>
                <a:gd name="T84" fmla="*/ 2147483647 w 4200"/>
                <a:gd name="T85" fmla="*/ 2147483647 h 2319"/>
                <a:gd name="T86" fmla="*/ 2147483647 w 4200"/>
                <a:gd name="T87" fmla="*/ 2147483647 h 2319"/>
                <a:gd name="T88" fmla="*/ 2147483647 w 4200"/>
                <a:gd name="T89" fmla="*/ 2147483647 h 2319"/>
                <a:gd name="T90" fmla="*/ 2147483647 w 4200"/>
                <a:gd name="T91" fmla="*/ 2147483647 h 2319"/>
                <a:gd name="T92" fmla="*/ 2147483647 w 4200"/>
                <a:gd name="T93" fmla="*/ 2147483647 h 2319"/>
                <a:gd name="T94" fmla="*/ 2147483647 w 4200"/>
                <a:gd name="T95" fmla="*/ 2147483647 h 2319"/>
                <a:gd name="T96" fmla="*/ 2147483647 w 4200"/>
                <a:gd name="T97" fmla="*/ 2147483647 h 2319"/>
                <a:gd name="T98" fmla="*/ 2147483647 w 4200"/>
                <a:gd name="T99" fmla="*/ 2147483647 h 2319"/>
                <a:gd name="T100" fmla="*/ 2147483647 w 4200"/>
                <a:gd name="T101" fmla="*/ 2147483647 h 2319"/>
                <a:gd name="T102" fmla="*/ 2147483647 w 4200"/>
                <a:gd name="T103" fmla="*/ 2147483647 h 2319"/>
                <a:gd name="T104" fmla="*/ 2147483647 w 4200"/>
                <a:gd name="T105" fmla="*/ 2147483647 h 231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0"/>
                <a:gd name="T160" fmla="*/ 0 h 2319"/>
                <a:gd name="T161" fmla="*/ 4200 w 4200"/>
                <a:gd name="T162" fmla="*/ 2319 h 231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0" h="2319">
                  <a:moveTo>
                    <a:pt x="3421" y="865"/>
                  </a:moveTo>
                  <a:lnTo>
                    <a:pt x="3335" y="867"/>
                  </a:lnTo>
                  <a:lnTo>
                    <a:pt x="3257" y="877"/>
                  </a:lnTo>
                  <a:lnTo>
                    <a:pt x="3189" y="893"/>
                  </a:lnTo>
                  <a:lnTo>
                    <a:pt x="3129" y="914"/>
                  </a:lnTo>
                  <a:lnTo>
                    <a:pt x="3076" y="942"/>
                  </a:lnTo>
                  <a:lnTo>
                    <a:pt x="3030" y="975"/>
                  </a:lnTo>
                  <a:lnTo>
                    <a:pt x="2991" y="1013"/>
                  </a:lnTo>
                  <a:lnTo>
                    <a:pt x="2958" y="1053"/>
                  </a:lnTo>
                  <a:lnTo>
                    <a:pt x="2932" y="1098"/>
                  </a:lnTo>
                  <a:lnTo>
                    <a:pt x="2909" y="1147"/>
                  </a:lnTo>
                  <a:lnTo>
                    <a:pt x="2893" y="1197"/>
                  </a:lnTo>
                  <a:lnTo>
                    <a:pt x="2881" y="1250"/>
                  </a:lnTo>
                  <a:lnTo>
                    <a:pt x="2872" y="1306"/>
                  </a:lnTo>
                  <a:lnTo>
                    <a:pt x="2867" y="1362"/>
                  </a:lnTo>
                  <a:lnTo>
                    <a:pt x="2865" y="1419"/>
                  </a:lnTo>
                  <a:lnTo>
                    <a:pt x="2866" y="1476"/>
                  </a:lnTo>
                  <a:lnTo>
                    <a:pt x="2869" y="1532"/>
                  </a:lnTo>
                  <a:lnTo>
                    <a:pt x="2873" y="1588"/>
                  </a:lnTo>
                  <a:lnTo>
                    <a:pt x="2880" y="1644"/>
                  </a:lnTo>
                  <a:lnTo>
                    <a:pt x="2886" y="1697"/>
                  </a:lnTo>
                  <a:lnTo>
                    <a:pt x="2898" y="1797"/>
                  </a:lnTo>
                  <a:lnTo>
                    <a:pt x="2908" y="1885"/>
                  </a:lnTo>
                  <a:lnTo>
                    <a:pt x="2910" y="1922"/>
                  </a:lnTo>
                  <a:lnTo>
                    <a:pt x="2911" y="1955"/>
                  </a:lnTo>
                  <a:lnTo>
                    <a:pt x="2909" y="1984"/>
                  </a:lnTo>
                  <a:lnTo>
                    <a:pt x="2904" y="2006"/>
                  </a:lnTo>
                  <a:lnTo>
                    <a:pt x="2895" y="2022"/>
                  </a:lnTo>
                  <a:lnTo>
                    <a:pt x="2883" y="2033"/>
                  </a:lnTo>
                  <a:lnTo>
                    <a:pt x="2865" y="2036"/>
                  </a:lnTo>
                  <a:lnTo>
                    <a:pt x="2844" y="2032"/>
                  </a:lnTo>
                  <a:lnTo>
                    <a:pt x="32" y="1094"/>
                  </a:lnTo>
                  <a:lnTo>
                    <a:pt x="17" y="1086"/>
                  </a:lnTo>
                  <a:lnTo>
                    <a:pt x="7" y="1074"/>
                  </a:lnTo>
                  <a:lnTo>
                    <a:pt x="1" y="1057"/>
                  </a:lnTo>
                  <a:lnTo>
                    <a:pt x="0" y="1037"/>
                  </a:lnTo>
                  <a:lnTo>
                    <a:pt x="2" y="1014"/>
                  </a:lnTo>
                  <a:lnTo>
                    <a:pt x="9" y="987"/>
                  </a:lnTo>
                  <a:lnTo>
                    <a:pt x="19" y="958"/>
                  </a:lnTo>
                  <a:lnTo>
                    <a:pt x="35" y="926"/>
                  </a:lnTo>
                  <a:lnTo>
                    <a:pt x="53" y="892"/>
                  </a:lnTo>
                  <a:lnTo>
                    <a:pt x="75" y="855"/>
                  </a:lnTo>
                  <a:lnTo>
                    <a:pt x="101" y="817"/>
                  </a:lnTo>
                  <a:lnTo>
                    <a:pt x="131" y="778"/>
                  </a:lnTo>
                  <a:lnTo>
                    <a:pt x="163" y="737"/>
                  </a:lnTo>
                  <a:lnTo>
                    <a:pt x="199" y="695"/>
                  </a:lnTo>
                  <a:lnTo>
                    <a:pt x="239" y="652"/>
                  </a:lnTo>
                  <a:lnTo>
                    <a:pt x="282" y="609"/>
                  </a:lnTo>
                  <a:lnTo>
                    <a:pt x="328" y="565"/>
                  </a:lnTo>
                  <a:lnTo>
                    <a:pt x="375" y="522"/>
                  </a:lnTo>
                  <a:lnTo>
                    <a:pt x="428" y="479"/>
                  </a:lnTo>
                  <a:lnTo>
                    <a:pt x="482" y="437"/>
                  </a:lnTo>
                  <a:lnTo>
                    <a:pt x="539" y="395"/>
                  </a:lnTo>
                  <a:lnTo>
                    <a:pt x="599" y="355"/>
                  </a:lnTo>
                  <a:lnTo>
                    <a:pt x="661" y="315"/>
                  </a:lnTo>
                  <a:lnTo>
                    <a:pt x="726" y="278"/>
                  </a:lnTo>
                  <a:lnTo>
                    <a:pt x="793" y="243"/>
                  </a:lnTo>
                  <a:lnTo>
                    <a:pt x="862" y="209"/>
                  </a:lnTo>
                  <a:lnTo>
                    <a:pt x="935" y="177"/>
                  </a:lnTo>
                  <a:lnTo>
                    <a:pt x="1008" y="150"/>
                  </a:lnTo>
                  <a:lnTo>
                    <a:pt x="1084" y="124"/>
                  </a:lnTo>
                  <a:lnTo>
                    <a:pt x="1161" y="102"/>
                  </a:lnTo>
                  <a:lnTo>
                    <a:pt x="1241" y="83"/>
                  </a:lnTo>
                  <a:lnTo>
                    <a:pt x="1322" y="68"/>
                  </a:lnTo>
                  <a:lnTo>
                    <a:pt x="1427" y="53"/>
                  </a:lnTo>
                  <a:lnTo>
                    <a:pt x="1533" y="38"/>
                  </a:lnTo>
                  <a:lnTo>
                    <a:pt x="1638" y="27"/>
                  </a:lnTo>
                  <a:lnTo>
                    <a:pt x="1744" y="18"/>
                  </a:lnTo>
                  <a:lnTo>
                    <a:pt x="1850" y="10"/>
                  </a:lnTo>
                  <a:lnTo>
                    <a:pt x="1956" y="5"/>
                  </a:lnTo>
                  <a:lnTo>
                    <a:pt x="2061" y="1"/>
                  </a:lnTo>
                  <a:lnTo>
                    <a:pt x="2166" y="0"/>
                  </a:lnTo>
                  <a:lnTo>
                    <a:pt x="2271" y="3"/>
                  </a:lnTo>
                  <a:lnTo>
                    <a:pt x="2376" y="6"/>
                  </a:lnTo>
                  <a:lnTo>
                    <a:pt x="2479" y="11"/>
                  </a:lnTo>
                  <a:lnTo>
                    <a:pt x="2580" y="19"/>
                  </a:lnTo>
                  <a:lnTo>
                    <a:pt x="2681" y="29"/>
                  </a:lnTo>
                  <a:lnTo>
                    <a:pt x="2781" y="41"/>
                  </a:lnTo>
                  <a:lnTo>
                    <a:pt x="2879" y="57"/>
                  </a:lnTo>
                  <a:lnTo>
                    <a:pt x="2975" y="73"/>
                  </a:lnTo>
                  <a:lnTo>
                    <a:pt x="3069" y="92"/>
                  </a:lnTo>
                  <a:lnTo>
                    <a:pt x="3161" y="115"/>
                  </a:lnTo>
                  <a:lnTo>
                    <a:pt x="3252" y="138"/>
                  </a:lnTo>
                  <a:lnTo>
                    <a:pt x="3341" y="165"/>
                  </a:lnTo>
                  <a:lnTo>
                    <a:pt x="3427" y="193"/>
                  </a:lnTo>
                  <a:lnTo>
                    <a:pt x="3509" y="225"/>
                  </a:lnTo>
                  <a:lnTo>
                    <a:pt x="3591" y="259"/>
                  </a:lnTo>
                  <a:lnTo>
                    <a:pt x="3668" y="295"/>
                  </a:lnTo>
                  <a:lnTo>
                    <a:pt x="3743" y="333"/>
                  </a:lnTo>
                  <a:lnTo>
                    <a:pt x="3814" y="375"/>
                  </a:lnTo>
                  <a:lnTo>
                    <a:pt x="3883" y="419"/>
                  </a:lnTo>
                  <a:lnTo>
                    <a:pt x="3948" y="465"/>
                  </a:lnTo>
                  <a:lnTo>
                    <a:pt x="4009" y="514"/>
                  </a:lnTo>
                  <a:lnTo>
                    <a:pt x="4067" y="565"/>
                  </a:lnTo>
                  <a:lnTo>
                    <a:pt x="4120" y="619"/>
                  </a:lnTo>
                  <a:lnTo>
                    <a:pt x="4170" y="676"/>
                  </a:lnTo>
                  <a:lnTo>
                    <a:pt x="4176" y="683"/>
                  </a:lnTo>
                  <a:lnTo>
                    <a:pt x="4180" y="689"/>
                  </a:lnTo>
                  <a:lnTo>
                    <a:pt x="4184" y="695"/>
                  </a:lnTo>
                  <a:lnTo>
                    <a:pt x="4186" y="700"/>
                  </a:lnTo>
                  <a:lnTo>
                    <a:pt x="4187" y="705"/>
                  </a:lnTo>
                  <a:lnTo>
                    <a:pt x="4188" y="709"/>
                  </a:lnTo>
                  <a:lnTo>
                    <a:pt x="4188" y="713"/>
                  </a:lnTo>
                  <a:lnTo>
                    <a:pt x="4188" y="717"/>
                  </a:lnTo>
                  <a:lnTo>
                    <a:pt x="4186" y="721"/>
                  </a:lnTo>
                  <a:lnTo>
                    <a:pt x="4184" y="725"/>
                  </a:lnTo>
                  <a:lnTo>
                    <a:pt x="4182" y="728"/>
                  </a:lnTo>
                  <a:lnTo>
                    <a:pt x="4179" y="731"/>
                  </a:lnTo>
                  <a:lnTo>
                    <a:pt x="4170" y="737"/>
                  </a:lnTo>
                  <a:lnTo>
                    <a:pt x="4161" y="742"/>
                  </a:lnTo>
                  <a:lnTo>
                    <a:pt x="4140" y="754"/>
                  </a:lnTo>
                  <a:lnTo>
                    <a:pt x="4116" y="767"/>
                  </a:lnTo>
                  <a:lnTo>
                    <a:pt x="4104" y="777"/>
                  </a:lnTo>
                  <a:lnTo>
                    <a:pt x="4093" y="787"/>
                  </a:lnTo>
                  <a:lnTo>
                    <a:pt x="4088" y="792"/>
                  </a:lnTo>
                  <a:lnTo>
                    <a:pt x="4083" y="798"/>
                  </a:lnTo>
                  <a:lnTo>
                    <a:pt x="4078" y="805"/>
                  </a:lnTo>
                  <a:lnTo>
                    <a:pt x="4074" y="812"/>
                  </a:lnTo>
                  <a:lnTo>
                    <a:pt x="4070" y="818"/>
                  </a:lnTo>
                  <a:lnTo>
                    <a:pt x="4067" y="826"/>
                  </a:lnTo>
                  <a:lnTo>
                    <a:pt x="4064" y="833"/>
                  </a:lnTo>
                  <a:lnTo>
                    <a:pt x="4062" y="841"/>
                  </a:lnTo>
                  <a:lnTo>
                    <a:pt x="4059" y="858"/>
                  </a:lnTo>
                  <a:lnTo>
                    <a:pt x="4057" y="877"/>
                  </a:lnTo>
                  <a:lnTo>
                    <a:pt x="4056" y="896"/>
                  </a:lnTo>
                  <a:lnTo>
                    <a:pt x="4056" y="917"/>
                  </a:lnTo>
                  <a:lnTo>
                    <a:pt x="4057" y="938"/>
                  </a:lnTo>
                  <a:lnTo>
                    <a:pt x="4059" y="959"/>
                  </a:lnTo>
                  <a:lnTo>
                    <a:pt x="4064" y="1003"/>
                  </a:lnTo>
                  <a:lnTo>
                    <a:pt x="4070" y="1045"/>
                  </a:lnTo>
                  <a:lnTo>
                    <a:pt x="4078" y="1084"/>
                  </a:lnTo>
                  <a:lnTo>
                    <a:pt x="4085" y="1117"/>
                  </a:lnTo>
                  <a:lnTo>
                    <a:pt x="4106" y="1214"/>
                  </a:lnTo>
                  <a:lnTo>
                    <a:pt x="4128" y="1310"/>
                  </a:lnTo>
                  <a:lnTo>
                    <a:pt x="4149" y="1405"/>
                  </a:lnTo>
                  <a:lnTo>
                    <a:pt x="4168" y="1499"/>
                  </a:lnTo>
                  <a:lnTo>
                    <a:pt x="4177" y="1545"/>
                  </a:lnTo>
                  <a:lnTo>
                    <a:pt x="4185" y="1589"/>
                  </a:lnTo>
                  <a:lnTo>
                    <a:pt x="4191" y="1634"/>
                  </a:lnTo>
                  <a:lnTo>
                    <a:pt x="4195" y="1678"/>
                  </a:lnTo>
                  <a:lnTo>
                    <a:pt x="4198" y="1722"/>
                  </a:lnTo>
                  <a:lnTo>
                    <a:pt x="4200" y="1764"/>
                  </a:lnTo>
                  <a:lnTo>
                    <a:pt x="4200" y="1806"/>
                  </a:lnTo>
                  <a:lnTo>
                    <a:pt x="4197" y="1847"/>
                  </a:lnTo>
                  <a:lnTo>
                    <a:pt x="4193" y="1887"/>
                  </a:lnTo>
                  <a:lnTo>
                    <a:pt x="4186" y="1925"/>
                  </a:lnTo>
                  <a:lnTo>
                    <a:pt x="4176" y="1962"/>
                  </a:lnTo>
                  <a:lnTo>
                    <a:pt x="4163" y="1999"/>
                  </a:lnTo>
                  <a:lnTo>
                    <a:pt x="4148" y="2034"/>
                  </a:lnTo>
                  <a:lnTo>
                    <a:pt x="4130" y="2067"/>
                  </a:lnTo>
                  <a:lnTo>
                    <a:pt x="4108" y="2100"/>
                  </a:lnTo>
                  <a:lnTo>
                    <a:pt x="4083" y="2131"/>
                  </a:lnTo>
                  <a:lnTo>
                    <a:pt x="4054" y="2160"/>
                  </a:lnTo>
                  <a:lnTo>
                    <a:pt x="4021" y="2188"/>
                  </a:lnTo>
                  <a:lnTo>
                    <a:pt x="3986" y="2214"/>
                  </a:lnTo>
                  <a:lnTo>
                    <a:pt x="3945" y="2239"/>
                  </a:lnTo>
                  <a:lnTo>
                    <a:pt x="3900" y="2261"/>
                  </a:lnTo>
                  <a:lnTo>
                    <a:pt x="3851" y="2282"/>
                  </a:lnTo>
                  <a:lnTo>
                    <a:pt x="3797" y="2301"/>
                  </a:lnTo>
                  <a:lnTo>
                    <a:pt x="3738" y="2319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521" name="Freeform 39"/>
            <p:cNvSpPr>
              <a:spLocks/>
            </p:cNvSpPr>
            <p:nvPr/>
          </p:nvSpPr>
          <p:spPr bwMode="auto">
            <a:xfrm>
              <a:off x="3324225" y="5273675"/>
              <a:ext cx="417513" cy="95250"/>
            </a:xfrm>
            <a:custGeom>
              <a:avLst/>
              <a:gdLst>
                <a:gd name="T0" fmla="*/ 2147483647 w 7637"/>
                <a:gd name="T1" fmla="*/ 2147483647 h 1726"/>
                <a:gd name="T2" fmla="*/ 2147483647 w 7637"/>
                <a:gd name="T3" fmla="*/ 2147483647 h 1726"/>
                <a:gd name="T4" fmla="*/ 2147483647 w 7637"/>
                <a:gd name="T5" fmla="*/ 2147483647 h 1726"/>
                <a:gd name="T6" fmla="*/ 2147483647 w 7637"/>
                <a:gd name="T7" fmla="*/ 2147483647 h 1726"/>
                <a:gd name="T8" fmla="*/ 2147483647 w 7637"/>
                <a:gd name="T9" fmla="*/ 2147483647 h 1726"/>
                <a:gd name="T10" fmla="*/ 2147483647 w 7637"/>
                <a:gd name="T11" fmla="*/ 2147483647 h 1726"/>
                <a:gd name="T12" fmla="*/ 2147483647 w 7637"/>
                <a:gd name="T13" fmla="*/ 2147483647 h 1726"/>
                <a:gd name="T14" fmla="*/ 2147483647 w 7637"/>
                <a:gd name="T15" fmla="*/ 2147483647 h 1726"/>
                <a:gd name="T16" fmla="*/ 2147483647 w 7637"/>
                <a:gd name="T17" fmla="*/ 2147483647 h 1726"/>
                <a:gd name="T18" fmla="*/ 2147483647 w 7637"/>
                <a:gd name="T19" fmla="*/ 2147483647 h 1726"/>
                <a:gd name="T20" fmla="*/ 2147483647 w 7637"/>
                <a:gd name="T21" fmla="*/ 2147483647 h 1726"/>
                <a:gd name="T22" fmla="*/ 2147483647 w 7637"/>
                <a:gd name="T23" fmla="*/ 2147483647 h 1726"/>
                <a:gd name="T24" fmla="*/ 2147483647 w 7637"/>
                <a:gd name="T25" fmla="*/ 2147483647 h 1726"/>
                <a:gd name="T26" fmla="*/ 2147483647 w 7637"/>
                <a:gd name="T27" fmla="*/ 2147483647 h 1726"/>
                <a:gd name="T28" fmla="*/ 2147483647 w 7637"/>
                <a:gd name="T29" fmla="*/ 2147483647 h 1726"/>
                <a:gd name="T30" fmla="*/ 2147483647 w 7637"/>
                <a:gd name="T31" fmla="*/ 2147483647 h 1726"/>
                <a:gd name="T32" fmla="*/ 2147483647 w 7637"/>
                <a:gd name="T33" fmla="*/ 2147483647 h 1726"/>
                <a:gd name="T34" fmla="*/ 2147483647 w 7637"/>
                <a:gd name="T35" fmla="*/ 2147483647 h 1726"/>
                <a:gd name="T36" fmla="*/ 2147483647 w 7637"/>
                <a:gd name="T37" fmla="*/ 2147483647 h 1726"/>
                <a:gd name="T38" fmla="*/ 2147483647 w 7637"/>
                <a:gd name="T39" fmla="*/ 2147483647 h 1726"/>
                <a:gd name="T40" fmla="*/ 2147483647 w 7637"/>
                <a:gd name="T41" fmla="*/ 2147483647 h 1726"/>
                <a:gd name="T42" fmla="*/ 2147483647 w 7637"/>
                <a:gd name="T43" fmla="*/ 2147483647 h 1726"/>
                <a:gd name="T44" fmla="*/ 2147483647 w 7637"/>
                <a:gd name="T45" fmla="*/ 2147483647 h 1726"/>
                <a:gd name="T46" fmla="*/ 2147483647 w 7637"/>
                <a:gd name="T47" fmla="*/ 2147483647 h 1726"/>
                <a:gd name="T48" fmla="*/ 2147483647 w 7637"/>
                <a:gd name="T49" fmla="*/ 2147483647 h 1726"/>
                <a:gd name="T50" fmla="*/ 2147483647 w 7637"/>
                <a:gd name="T51" fmla="*/ 2147483647 h 1726"/>
                <a:gd name="T52" fmla="*/ 2147483647 w 7637"/>
                <a:gd name="T53" fmla="*/ 2147483647 h 1726"/>
                <a:gd name="T54" fmla="*/ 2147483647 w 7637"/>
                <a:gd name="T55" fmla="*/ 2147483647 h 1726"/>
                <a:gd name="T56" fmla="*/ 2147483647 w 7637"/>
                <a:gd name="T57" fmla="*/ 2147483647 h 1726"/>
                <a:gd name="T58" fmla="*/ 2147483647 w 7637"/>
                <a:gd name="T59" fmla="*/ 2147483647 h 1726"/>
                <a:gd name="T60" fmla="*/ 2147483647 w 7637"/>
                <a:gd name="T61" fmla="*/ 2147483647 h 1726"/>
                <a:gd name="T62" fmla="*/ 2147483647 w 7637"/>
                <a:gd name="T63" fmla="*/ 2147483647 h 1726"/>
                <a:gd name="T64" fmla="*/ 2147483647 w 7637"/>
                <a:gd name="T65" fmla="*/ 2147483647 h 1726"/>
                <a:gd name="T66" fmla="*/ 2147483647 w 7637"/>
                <a:gd name="T67" fmla="*/ 2147483647 h 1726"/>
                <a:gd name="T68" fmla="*/ 2147483647 w 7637"/>
                <a:gd name="T69" fmla="*/ 2147483647 h 1726"/>
                <a:gd name="T70" fmla="*/ 2147483647 w 7637"/>
                <a:gd name="T71" fmla="*/ 2147483647 h 1726"/>
                <a:gd name="T72" fmla="*/ 2147483647 w 7637"/>
                <a:gd name="T73" fmla="*/ 2147483647 h 1726"/>
                <a:gd name="T74" fmla="*/ 2147483647 w 7637"/>
                <a:gd name="T75" fmla="*/ 2147483647 h 1726"/>
                <a:gd name="T76" fmla="*/ 2147483647 w 7637"/>
                <a:gd name="T77" fmla="*/ 2147483647 h 1726"/>
                <a:gd name="T78" fmla="*/ 2147483647 w 7637"/>
                <a:gd name="T79" fmla="*/ 2147483647 h 1726"/>
                <a:gd name="T80" fmla="*/ 2147483647 w 7637"/>
                <a:gd name="T81" fmla="*/ 2147483647 h 1726"/>
                <a:gd name="T82" fmla="*/ 2147483647 w 7637"/>
                <a:gd name="T83" fmla="*/ 2147483647 h 1726"/>
                <a:gd name="T84" fmla="*/ 2147483647 w 7637"/>
                <a:gd name="T85" fmla="*/ 2147483647 h 1726"/>
                <a:gd name="T86" fmla="*/ 2147483647 w 7637"/>
                <a:gd name="T87" fmla="*/ 2147483647 h 1726"/>
                <a:gd name="T88" fmla="*/ 2147483647 w 7637"/>
                <a:gd name="T89" fmla="*/ 2147483647 h 1726"/>
                <a:gd name="T90" fmla="*/ 2147483647 w 7637"/>
                <a:gd name="T91" fmla="*/ 2147483647 h 1726"/>
                <a:gd name="T92" fmla="*/ 2147483647 w 7637"/>
                <a:gd name="T93" fmla="*/ 2147483647 h 1726"/>
                <a:gd name="T94" fmla="*/ 2147483647 w 7637"/>
                <a:gd name="T95" fmla="*/ 2147483647 h 1726"/>
                <a:gd name="T96" fmla="*/ 2147483647 w 7637"/>
                <a:gd name="T97" fmla="*/ 2147483647 h 1726"/>
                <a:gd name="T98" fmla="*/ 2147483647 w 7637"/>
                <a:gd name="T99" fmla="*/ 2147483647 h 1726"/>
                <a:gd name="T100" fmla="*/ 2147483647 w 7637"/>
                <a:gd name="T101" fmla="*/ 2147483647 h 1726"/>
                <a:gd name="T102" fmla="*/ 2147483647 w 7637"/>
                <a:gd name="T103" fmla="*/ 2147483647 h 1726"/>
                <a:gd name="T104" fmla="*/ 2147483647 w 7637"/>
                <a:gd name="T105" fmla="*/ 2147483647 h 1726"/>
                <a:gd name="T106" fmla="*/ 2147483647 w 7637"/>
                <a:gd name="T107" fmla="*/ 2147483647 h 1726"/>
                <a:gd name="T108" fmla="*/ 2147483647 w 7637"/>
                <a:gd name="T109" fmla="*/ 2147483647 h 1726"/>
                <a:gd name="T110" fmla="*/ 2147483647 w 7637"/>
                <a:gd name="T111" fmla="*/ 2147483647 h 1726"/>
                <a:gd name="T112" fmla="*/ 2147483647 w 7637"/>
                <a:gd name="T113" fmla="*/ 2147483647 h 1726"/>
                <a:gd name="T114" fmla="*/ 2147483647 w 7637"/>
                <a:gd name="T115" fmla="*/ 0 h 17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637"/>
                <a:gd name="T175" fmla="*/ 0 h 1726"/>
                <a:gd name="T176" fmla="*/ 7637 w 7637"/>
                <a:gd name="T177" fmla="*/ 1726 h 17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637" h="1726">
                  <a:moveTo>
                    <a:pt x="0" y="566"/>
                  </a:moveTo>
                  <a:lnTo>
                    <a:pt x="24" y="574"/>
                  </a:lnTo>
                  <a:lnTo>
                    <a:pt x="98" y="597"/>
                  </a:lnTo>
                  <a:lnTo>
                    <a:pt x="213" y="633"/>
                  </a:lnTo>
                  <a:lnTo>
                    <a:pt x="367" y="680"/>
                  </a:lnTo>
                  <a:lnTo>
                    <a:pt x="458" y="707"/>
                  </a:lnTo>
                  <a:lnTo>
                    <a:pt x="555" y="735"/>
                  </a:lnTo>
                  <a:lnTo>
                    <a:pt x="660" y="765"/>
                  </a:lnTo>
                  <a:lnTo>
                    <a:pt x="772" y="797"/>
                  </a:lnTo>
                  <a:lnTo>
                    <a:pt x="890" y="828"/>
                  </a:lnTo>
                  <a:lnTo>
                    <a:pt x="1013" y="861"/>
                  </a:lnTo>
                  <a:lnTo>
                    <a:pt x="1141" y="894"/>
                  </a:lnTo>
                  <a:lnTo>
                    <a:pt x="1273" y="926"/>
                  </a:lnTo>
                  <a:lnTo>
                    <a:pt x="1410" y="959"/>
                  </a:lnTo>
                  <a:lnTo>
                    <a:pt x="1549" y="991"/>
                  </a:lnTo>
                  <a:lnTo>
                    <a:pt x="1691" y="1022"/>
                  </a:lnTo>
                  <a:lnTo>
                    <a:pt x="1835" y="1052"/>
                  </a:lnTo>
                  <a:lnTo>
                    <a:pt x="1980" y="1081"/>
                  </a:lnTo>
                  <a:lnTo>
                    <a:pt x="2126" y="1108"/>
                  </a:lnTo>
                  <a:lnTo>
                    <a:pt x="2273" y="1133"/>
                  </a:lnTo>
                  <a:lnTo>
                    <a:pt x="2419" y="1155"/>
                  </a:lnTo>
                  <a:lnTo>
                    <a:pt x="2564" y="1176"/>
                  </a:lnTo>
                  <a:lnTo>
                    <a:pt x="2708" y="1193"/>
                  </a:lnTo>
                  <a:lnTo>
                    <a:pt x="2850" y="1207"/>
                  </a:lnTo>
                  <a:lnTo>
                    <a:pt x="2989" y="1217"/>
                  </a:lnTo>
                  <a:lnTo>
                    <a:pt x="3124" y="1225"/>
                  </a:lnTo>
                  <a:lnTo>
                    <a:pt x="3256" y="1228"/>
                  </a:lnTo>
                  <a:lnTo>
                    <a:pt x="3384" y="1226"/>
                  </a:lnTo>
                  <a:lnTo>
                    <a:pt x="3506" y="1220"/>
                  </a:lnTo>
                  <a:lnTo>
                    <a:pt x="3623" y="1213"/>
                  </a:lnTo>
                  <a:lnTo>
                    <a:pt x="3734" y="1211"/>
                  </a:lnTo>
                  <a:lnTo>
                    <a:pt x="3839" y="1212"/>
                  </a:lnTo>
                  <a:lnTo>
                    <a:pt x="3938" y="1216"/>
                  </a:lnTo>
                  <a:lnTo>
                    <a:pt x="4032" y="1223"/>
                  </a:lnTo>
                  <a:lnTo>
                    <a:pt x="4120" y="1234"/>
                  </a:lnTo>
                  <a:lnTo>
                    <a:pt x="4204" y="1246"/>
                  </a:lnTo>
                  <a:lnTo>
                    <a:pt x="4283" y="1261"/>
                  </a:lnTo>
                  <a:lnTo>
                    <a:pt x="4355" y="1279"/>
                  </a:lnTo>
                  <a:lnTo>
                    <a:pt x="4424" y="1298"/>
                  </a:lnTo>
                  <a:lnTo>
                    <a:pt x="4488" y="1318"/>
                  </a:lnTo>
                  <a:lnTo>
                    <a:pt x="4547" y="1341"/>
                  </a:lnTo>
                  <a:lnTo>
                    <a:pt x="4602" y="1364"/>
                  </a:lnTo>
                  <a:lnTo>
                    <a:pt x="4653" y="1389"/>
                  </a:lnTo>
                  <a:lnTo>
                    <a:pt x="4700" y="1413"/>
                  </a:lnTo>
                  <a:lnTo>
                    <a:pt x="4743" y="1439"/>
                  </a:lnTo>
                  <a:lnTo>
                    <a:pt x="4783" y="1466"/>
                  </a:lnTo>
                  <a:lnTo>
                    <a:pt x="4818" y="1491"/>
                  </a:lnTo>
                  <a:lnTo>
                    <a:pt x="4850" y="1517"/>
                  </a:lnTo>
                  <a:lnTo>
                    <a:pt x="4880" y="1542"/>
                  </a:lnTo>
                  <a:lnTo>
                    <a:pt x="4905" y="1567"/>
                  </a:lnTo>
                  <a:lnTo>
                    <a:pt x="4928" y="1590"/>
                  </a:lnTo>
                  <a:lnTo>
                    <a:pt x="4948" y="1613"/>
                  </a:lnTo>
                  <a:lnTo>
                    <a:pt x="4964" y="1634"/>
                  </a:lnTo>
                  <a:lnTo>
                    <a:pt x="4980" y="1653"/>
                  </a:lnTo>
                  <a:lnTo>
                    <a:pt x="4992" y="1671"/>
                  </a:lnTo>
                  <a:lnTo>
                    <a:pt x="5001" y="1687"/>
                  </a:lnTo>
                  <a:lnTo>
                    <a:pt x="5009" y="1700"/>
                  </a:lnTo>
                  <a:lnTo>
                    <a:pt x="5018" y="1719"/>
                  </a:lnTo>
                  <a:lnTo>
                    <a:pt x="5021" y="1726"/>
                  </a:lnTo>
                  <a:lnTo>
                    <a:pt x="7637" y="922"/>
                  </a:lnTo>
                  <a:lnTo>
                    <a:pt x="7624" y="912"/>
                  </a:lnTo>
                  <a:lnTo>
                    <a:pt x="7586" y="882"/>
                  </a:lnTo>
                  <a:lnTo>
                    <a:pt x="7525" y="835"/>
                  </a:lnTo>
                  <a:lnTo>
                    <a:pt x="7443" y="776"/>
                  </a:lnTo>
                  <a:lnTo>
                    <a:pt x="7395" y="744"/>
                  </a:lnTo>
                  <a:lnTo>
                    <a:pt x="7343" y="707"/>
                  </a:lnTo>
                  <a:lnTo>
                    <a:pt x="7287" y="670"/>
                  </a:lnTo>
                  <a:lnTo>
                    <a:pt x="7227" y="631"/>
                  </a:lnTo>
                  <a:lnTo>
                    <a:pt x="7163" y="591"/>
                  </a:lnTo>
                  <a:lnTo>
                    <a:pt x="7096" y="551"/>
                  </a:lnTo>
                  <a:lnTo>
                    <a:pt x="7027" y="510"/>
                  </a:lnTo>
                  <a:lnTo>
                    <a:pt x="6953" y="469"/>
                  </a:lnTo>
                  <a:lnTo>
                    <a:pt x="6879" y="429"/>
                  </a:lnTo>
                  <a:lnTo>
                    <a:pt x="6801" y="389"/>
                  </a:lnTo>
                  <a:lnTo>
                    <a:pt x="6722" y="351"/>
                  </a:lnTo>
                  <a:lnTo>
                    <a:pt x="6642" y="316"/>
                  </a:lnTo>
                  <a:lnTo>
                    <a:pt x="6559" y="281"/>
                  </a:lnTo>
                  <a:lnTo>
                    <a:pt x="6477" y="249"/>
                  </a:lnTo>
                  <a:lnTo>
                    <a:pt x="6393" y="221"/>
                  </a:lnTo>
                  <a:lnTo>
                    <a:pt x="6308" y="195"/>
                  </a:lnTo>
                  <a:lnTo>
                    <a:pt x="6223" y="173"/>
                  </a:lnTo>
                  <a:lnTo>
                    <a:pt x="6139" y="154"/>
                  </a:lnTo>
                  <a:lnTo>
                    <a:pt x="6054" y="140"/>
                  </a:lnTo>
                  <a:lnTo>
                    <a:pt x="5970" y="131"/>
                  </a:lnTo>
                  <a:lnTo>
                    <a:pt x="5888" y="127"/>
                  </a:lnTo>
                  <a:lnTo>
                    <a:pt x="5805" y="129"/>
                  </a:lnTo>
                  <a:lnTo>
                    <a:pt x="5724" y="136"/>
                  </a:lnTo>
                  <a:lnTo>
                    <a:pt x="5646" y="149"/>
                  </a:lnTo>
                  <a:lnTo>
                    <a:pt x="5568" y="164"/>
                  </a:lnTo>
                  <a:lnTo>
                    <a:pt x="5490" y="177"/>
                  </a:lnTo>
                  <a:lnTo>
                    <a:pt x="5412" y="187"/>
                  </a:lnTo>
                  <a:lnTo>
                    <a:pt x="5335" y="194"/>
                  </a:lnTo>
                  <a:lnTo>
                    <a:pt x="5257" y="199"/>
                  </a:lnTo>
                  <a:lnTo>
                    <a:pt x="5181" y="202"/>
                  </a:lnTo>
                  <a:lnTo>
                    <a:pt x="5105" y="202"/>
                  </a:lnTo>
                  <a:lnTo>
                    <a:pt x="5031" y="201"/>
                  </a:lnTo>
                  <a:lnTo>
                    <a:pt x="4956" y="198"/>
                  </a:lnTo>
                  <a:lnTo>
                    <a:pt x="4885" y="194"/>
                  </a:lnTo>
                  <a:lnTo>
                    <a:pt x="4813" y="188"/>
                  </a:lnTo>
                  <a:lnTo>
                    <a:pt x="4744" y="181"/>
                  </a:lnTo>
                  <a:lnTo>
                    <a:pt x="4676" y="173"/>
                  </a:lnTo>
                  <a:lnTo>
                    <a:pt x="4611" y="162"/>
                  </a:lnTo>
                  <a:lnTo>
                    <a:pt x="4548" y="152"/>
                  </a:lnTo>
                  <a:lnTo>
                    <a:pt x="4487" y="142"/>
                  </a:lnTo>
                  <a:lnTo>
                    <a:pt x="4429" y="131"/>
                  </a:lnTo>
                  <a:lnTo>
                    <a:pt x="4372" y="119"/>
                  </a:lnTo>
                  <a:lnTo>
                    <a:pt x="4319" y="106"/>
                  </a:lnTo>
                  <a:lnTo>
                    <a:pt x="4268" y="95"/>
                  </a:lnTo>
                  <a:lnTo>
                    <a:pt x="4221" y="83"/>
                  </a:lnTo>
                  <a:lnTo>
                    <a:pt x="4177" y="71"/>
                  </a:lnTo>
                  <a:lnTo>
                    <a:pt x="4137" y="59"/>
                  </a:lnTo>
                  <a:lnTo>
                    <a:pt x="4100" y="49"/>
                  </a:lnTo>
                  <a:lnTo>
                    <a:pt x="4037" y="30"/>
                  </a:lnTo>
                  <a:lnTo>
                    <a:pt x="3991" y="14"/>
                  </a:lnTo>
                  <a:lnTo>
                    <a:pt x="3962" y="4"/>
                  </a:lnTo>
                  <a:lnTo>
                    <a:pt x="3952" y="0"/>
                  </a:lnTo>
                  <a:lnTo>
                    <a:pt x="2376" y="238"/>
                  </a:lnTo>
                </a:path>
              </a:pathLst>
            </a:custGeom>
            <a:solidFill>
              <a:schemeClr val="tx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522" name="Freeform 40"/>
            <p:cNvSpPr>
              <a:spLocks/>
            </p:cNvSpPr>
            <p:nvPr/>
          </p:nvSpPr>
          <p:spPr bwMode="auto">
            <a:xfrm>
              <a:off x="3578225" y="5311775"/>
              <a:ext cx="160338" cy="52388"/>
            </a:xfrm>
            <a:custGeom>
              <a:avLst/>
              <a:gdLst>
                <a:gd name="T0" fmla="*/ 0 w 2927"/>
                <a:gd name="T1" fmla="*/ 2147483647 h 973"/>
                <a:gd name="T2" fmla="*/ 2147483647 w 2927"/>
                <a:gd name="T3" fmla="*/ 0 h 973"/>
                <a:gd name="T4" fmla="*/ 2147483647 w 2927"/>
                <a:gd name="T5" fmla="*/ 2147483647 h 973"/>
                <a:gd name="T6" fmla="*/ 2147483647 w 2927"/>
                <a:gd name="T7" fmla="*/ 2147483647 h 973"/>
                <a:gd name="T8" fmla="*/ 2147483647 w 2927"/>
                <a:gd name="T9" fmla="*/ 2147483647 h 973"/>
                <a:gd name="T10" fmla="*/ 2147483647 w 2927"/>
                <a:gd name="T11" fmla="*/ 2147483647 h 973"/>
                <a:gd name="T12" fmla="*/ 2147483647 w 2927"/>
                <a:gd name="T13" fmla="*/ 2147483647 h 973"/>
                <a:gd name="T14" fmla="*/ 2147483647 w 2927"/>
                <a:gd name="T15" fmla="*/ 2147483647 h 973"/>
                <a:gd name="T16" fmla="*/ 2147483647 w 2927"/>
                <a:gd name="T17" fmla="*/ 2147483647 h 973"/>
                <a:gd name="T18" fmla="*/ 2147483647 w 2927"/>
                <a:gd name="T19" fmla="*/ 2147483647 h 973"/>
                <a:gd name="T20" fmla="*/ 2147483647 w 2927"/>
                <a:gd name="T21" fmla="*/ 2147483647 h 973"/>
                <a:gd name="T22" fmla="*/ 2147483647 w 2927"/>
                <a:gd name="T23" fmla="*/ 2147483647 h 973"/>
                <a:gd name="T24" fmla="*/ 2147483647 w 2927"/>
                <a:gd name="T25" fmla="*/ 2147483647 h 973"/>
                <a:gd name="T26" fmla="*/ 2147483647 w 2927"/>
                <a:gd name="T27" fmla="*/ 2147483647 h 973"/>
                <a:gd name="T28" fmla="*/ 2147483647 w 2927"/>
                <a:gd name="T29" fmla="*/ 2147483647 h 973"/>
                <a:gd name="T30" fmla="*/ 2147483647 w 2927"/>
                <a:gd name="T31" fmla="*/ 2147483647 h 973"/>
                <a:gd name="T32" fmla="*/ 2147483647 w 2927"/>
                <a:gd name="T33" fmla="*/ 2147483647 h 973"/>
                <a:gd name="T34" fmla="*/ 2147483647 w 2927"/>
                <a:gd name="T35" fmla="*/ 2147483647 h 973"/>
                <a:gd name="T36" fmla="*/ 2147483647 w 2927"/>
                <a:gd name="T37" fmla="*/ 2147483647 h 973"/>
                <a:gd name="T38" fmla="*/ 0 w 2927"/>
                <a:gd name="T39" fmla="*/ 2147483647 h 97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927"/>
                <a:gd name="T61" fmla="*/ 0 h 973"/>
                <a:gd name="T62" fmla="*/ 2927 w 2927"/>
                <a:gd name="T63" fmla="*/ 973 h 97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927" h="973">
                  <a:moveTo>
                    <a:pt x="0" y="705"/>
                  </a:moveTo>
                  <a:lnTo>
                    <a:pt x="2649" y="0"/>
                  </a:lnTo>
                  <a:lnTo>
                    <a:pt x="2927" y="186"/>
                  </a:lnTo>
                  <a:lnTo>
                    <a:pt x="333" y="973"/>
                  </a:lnTo>
                  <a:lnTo>
                    <a:pt x="315" y="953"/>
                  </a:lnTo>
                  <a:lnTo>
                    <a:pt x="296" y="932"/>
                  </a:lnTo>
                  <a:lnTo>
                    <a:pt x="276" y="912"/>
                  </a:lnTo>
                  <a:lnTo>
                    <a:pt x="257" y="893"/>
                  </a:lnTo>
                  <a:lnTo>
                    <a:pt x="237" y="874"/>
                  </a:lnTo>
                  <a:lnTo>
                    <a:pt x="217" y="856"/>
                  </a:lnTo>
                  <a:lnTo>
                    <a:pt x="197" y="837"/>
                  </a:lnTo>
                  <a:lnTo>
                    <a:pt x="176" y="821"/>
                  </a:lnTo>
                  <a:lnTo>
                    <a:pt x="155" y="804"/>
                  </a:lnTo>
                  <a:lnTo>
                    <a:pt x="133" y="788"/>
                  </a:lnTo>
                  <a:lnTo>
                    <a:pt x="112" y="773"/>
                  </a:lnTo>
                  <a:lnTo>
                    <a:pt x="91" y="758"/>
                  </a:lnTo>
                  <a:lnTo>
                    <a:pt x="68" y="743"/>
                  </a:lnTo>
                  <a:lnTo>
                    <a:pt x="46" y="730"/>
                  </a:lnTo>
                  <a:lnTo>
                    <a:pt x="23" y="717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46" name="Скругленный прямоугольник 45"/>
          <p:cNvSpPr/>
          <p:nvPr/>
        </p:nvSpPr>
        <p:spPr>
          <a:xfrm>
            <a:off x="2352675" y="4968875"/>
            <a:ext cx="1712913" cy="5715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Санатории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273300" y="2463800"/>
            <a:ext cx="1779588" cy="71278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rIns="36000"/>
          <a:lstStyle/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Высокотехнологичные </a:t>
            </a:r>
          </a:p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медицинские</a:t>
            </a:r>
          </a:p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центры</a:t>
            </a:r>
          </a:p>
        </p:txBody>
      </p:sp>
      <p:grpSp>
        <p:nvGrpSpPr>
          <p:cNvPr id="54282" name="Группа 267"/>
          <p:cNvGrpSpPr>
            <a:grpSpLocks/>
          </p:cNvGrpSpPr>
          <p:nvPr/>
        </p:nvGrpSpPr>
        <p:grpSpPr bwMode="auto">
          <a:xfrm>
            <a:off x="280988" y="3773488"/>
            <a:ext cx="1152525" cy="973137"/>
            <a:chOff x="418547" y="5291163"/>
            <a:chExt cx="1153057" cy="973545"/>
          </a:xfrm>
        </p:grpSpPr>
        <p:sp>
          <p:nvSpPr>
            <p:cNvPr id="4" name="Скругленный прямоугольник 268"/>
            <p:cNvSpPr/>
            <p:nvPr/>
          </p:nvSpPr>
          <p:spPr>
            <a:xfrm>
              <a:off x="428076" y="5291163"/>
              <a:ext cx="1143528" cy="57174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ЛПУ</a:t>
              </a:r>
            </a:p>
            <a:p>
              <a:pPr algn="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первичного </a:t>
              </a:r>
            </a:p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звена</a:t>
              </a:r>
              <a:endParaRPr lang="ru-RU" sz="1100" dirty="0"/>
            </a:p>
          </p:txBody>
        </p:sp>
        <p:grpSp>
          <p:nvGrpSpPr>
            <p:cNvPr id="54494" name="Группа 269"/>
            <p:cNvGrpSpPr>
              <a:grpSpLocks/>
            </p:cNvGrpSpPr>
            <p:nvPr/>
          </p:nvGrpSpPr>
          <p:grpSpPr bwMode="auto">
            <a:xfrm flipH="1">
              <a:off x="418547" y="5546754"/>
              <a:ext cx="319588" cy="717954"/>
              <a:chOff x="928688" y="5000627"/>
              <a:chExt cx="566738" cy="1273176"/>
            </a:xfrm>
          </p:grpSpPr>
          <p:sp>
            <p:nvSpPr>
              <p:cNvPr id="54495" name="Freeform 8"/>
              <p:cNvSpPr>
                <a:spLocks/>
              </p:cNvSpPr>
              <p:nvPr/>
            </p:nvSpPr>
            <p:spPr bwMode="auto">
              <a:xfrm>
                <a:off x="928688" y="5243513"/>
                <a:ext cx="566737" cy="1030288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6" name="Freeform 9"/>
              <p:cNvSpPr>
                <a:spLocks/>
              </p:cNvSpPr>
              <p:nvPr/>
            </p:nvSpPr>
            <p:spPr bwMode="auto">
              <a:xfrm>
                <a:off x="928690" y="5243516"/>
                <a:ext cx="566736" cy="1030287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7" name="Freeform 10"/>
              <p:cNvSpPr>
                <a:spLocks/>
              </p:cNvSpPr>
              <p:nvPr/>
            </p:nvSpPr>
            <p:spPr bwMode="auto">
              <a:xfrm>
                <a:off x="1101725" y="5000627"/>
                <a:ext cx="225424" cy="236539"/>
              </a:xfrm>
              <a:custGeom>
                <a:avLst/>
                <a:gdLst>
                  <a:gd name="T0" fmla="*/ 2147483647 w 2821"/>
                  <a:gd name="T1" fmla="*/ 2147483647 h 2969"/>
                  <a:gd name="T2" fmla="*/ 2147483647 w 2821"/>
                  <a:gd name="T3" fmla="*/ 2147483647 h 2969"/>
                  <a:gd name="T4" fmla="*/ 2147483647 w 2821"/>
                  <a:gd name="T5" fmla="*/ 2147483647 h 2969"/>
                  <a:gd name="T6" fmla="*/ 2147483647 w 2821"/>
                  <a:gd name="T7" fmla="*/ 2147483647 h 2969"/>
                  <a:gd name="T8" fmla="*/ 2147483647 w 2821"/>
                  <a:gd name="T9" fmla="*/ 2147483647 h 2969"/>
                  <a:gd name="T10" fmla="*/ 2147483647 w 2821"/>
                  <a:gd name="T11" fmla="*/ 2147483647 h 2969"/>
                  <a:gd name="T12" fmla="*/ 2147483647 w 2821"/>
                  <a:gd name="T13" fmla="*/ 2147483647 h 2969"/>
                  <a:gd name="T14" fmla="*/ 2147483647 w 2821"/>
                  <a:gd name="T15" fmla="*/ 2147483647 h 2969"/>
                  <a:gd name="T16" fmla="*/ 2147483647 w 2821"/>
                  <a:gd name="T17" fmla="*/ 2147483647 h 2969"/>
                  <a:gd name="T18" fmla="*/ 2147483647 w 2821"/>
                  <a:gd name="T19" fmla="*/ 2147483647 h 2969"/>
                  <a:gd name="T20" fmla="*/ 2147483647 w 2821"/>
                  <a:gd name="T21" fmla="*/ 2147483647 h 2969"/>
                  <a:gd name="T22" fmla="*/ 2147483647 w 2821"/>
                  <a:gd name="T23" fmla="*/ 2147483647 h 2969"/>
                  <a:gd name="T24" fmla="*/ 2147483647 w 2821"/>
                  <a:gd name="T25" fmla="*/ 2147483647 h 2969"/>
                  <a:gd name="T26" fmla="*/ 2147483647 w 2821"/>
                  <a:gd name="T27" fmla="*/ 2147483647 h 2969"/>
                  <a:gd name="T28" fmla="*/ 2147483647 w 2821"/>
                  <a:gd name="T29" fmla="*/ 2147483647 h 2969"/>
                  <a:gd name="T30" fmla="*/ 2147483647 w 2821"/>
                  <a:gd name="T31" fmla="*/ 2147483647 h 2969"/>
                  <a:gd name="T32" fmla="*/ 2147483647 w 2821"/>
                  <a:gd name="T33" fmla="*/ 2147483647 h 2969"/>
                  <a:gd name="T34" fmla="*/ 2147483647 w 2821"/>
                  <a:gd name="T35" fmla="*/ 2147483647 h 2969"/>
                  <a:gd name="T36" fmla="*/ 2147483647 w 2821"/>
                  <a:gd name="T37" fmla="*/ 2147483647 h 2969"/>
                  <a:gd name="T38" fmla="*/ 2147483647 w 2821"/>
                  <a:gd name="T39" fmla="*/ 2147483647 h 2969"/>
                  <a:gd name="T40" fmla="*/ 2147483647 w 2821"/>
                  <a:gd name="T41" fmla="*/ 2147483647 h 2969"/>
                  <a:gd name="T42" fmla="*/ 2147483647 w 2821"/>
                  <a:gd name="T43" fmla="*/ 2147483647 h 2969"/>
                  <a:gd name="T44" fmla="*/ 2147483647 w 2821"/>
                  <a:gd name="T45" fmla="*/ 2147483647 h 2969"/>
                  <a:gd name="T46" fmla="*/ 2147483647 w 2821"/>
                  <a:gd name="T47" fmla="*/ 2147483647 h 2969"/>
                  <a:gd name="T48" fmla="*/ 2147483647 w 2821"/>
                  <a:gd name="T49" fmla="*/ 2147483647 h 2969"/>
                  <a:gd name="T50" fmla="*/ 2147483647 w 2821"/>
                  <a:gd name="T51" fmla="*/ 2147483647 h 2969"/>
                  <a:gd name="T52" fmla="*/ 2147483647 w 2821"/>
                  <a:gd name="T53" fmla="*/ 2147483647 h 2969"/>
                  <a:gd name="T54" fmla="*/ 2147483647 w 2821"/>
                  <a:gd name="T55" fmla="*/ 2147483647 h 2969"/>
                  <a:gd name="T56" fmla="*/ 2147483647 w 2821"/>
                  <a:gd name="T57" fmla="*/ 2147483647 h 2969"/>
                  <a:gd name="T58" fmla="*/ 2147483647 w 2821"/>
                  <a:gd name="T59" fmla="*/ 2147483647 h 2969"/>
                  <a:gd name="T60" fmla="*/ 2147483647 w 2821"/>
                  <a:gd name="T61" fmla="*/ 2147483647 h 2969"/>
                  <a:gd name="T62" fmla="*/ 2147483647 w 2821"/>
                  <a:gd name="T63" fmla="*/ 2147483647 h 2969"/>
                  <a:gd name="T64" fmla="*/ 2147483647 w 2821"/>
                  <a:gd name="T65" fmla="*/ 2147483647 h 2969"/>
                  <a:gd name="T66" fmla="*/ 2147483647 w 2821"/>
                  <a:gd name="T67" fmla="*/ 2147483647 h 2969"/>
                  <a:gd name="T68" fmla="*/ 2147483647 w 2821"/>
                  <a:gd name="T69" fmla="*/ 2147483647 h 2969"/>
                  <a:gd name="T70" fmla="*/ 2147483647 w 2821"/>
                  <a:gd name="T71" fmla="*/ 2147483647 h 2969"/>
                  <a:gd name="T72" fmla="*/ 2147483647 w 2821"/>
                  <a:gd name="T73" fmla="*/ 2147483647 h 2969"/>
                  <a:gd name="T74" fmla="*/ 2147483647 w 2821"/>
                  <a:gd name="T75" fmla="*/ 2147483647 h 2969"/>
                  <a:gd name="T76" fmla="*/ 2147483647 w 2821"/>
                  <a:gd name="T77" fmla="*/ 2147483647 h 2969"/>
                  <a:gd name="T78" fmla="*/ 2147483647 w 2821"/>
                  <a:gd name="T79" fmla="*/ 2147483647 h 2969"/>
                  <a:gd name="T80" fmla="*/ 2147483647 w 2821"/>
                  <a:gd name="T81" fmla="*/ 2147483647 h 2969"/>
                  <a:gd name="T82" fmla="*/ 2147483647 w 2821"/>
                  <a:gd name="T83" fmla="*/ 2147483647 h 2969"/>
                  <a:gd name="T84" fmla="*/ 2147483647 w 2821"/>
                  <a:gd name="T85" fmla="*/ 0 h 29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21"/>
                  <a:gd name="T130" fmla="*/ 0 h 2969"/>
                  <a:gd name="T131" fmla="*/ 2821 w 2821"/>
                  <a:gd name="T132" fmla="*/ 2969 h 29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21" h="2969">
                    <a:moveTo>
                      <a:pt x="1411" y="0"/>
                    </a:moveTo>
                    <a:lnTo>
                      <a:pt x="1483" y="2"/>
                    </a:lnTo>
                    <a:lnTo>
                      <a:pt x="1555" y="8"/>
                    </a:lnTo>
                    <a:lnTo>
                      <a:pt x="1625" y="17"/>
                    </a:lnTo>
                    <a:lnTo>
                      <a:pt x="1695" y="30"/>
                    </a:lnTo>
                    <a:lnTo>
                      <a:pt x="1763" y="47"/>
                    </a:lnTo>
                    <a:lnTo>
                      <a:pt x="1830" y="67"/>
                    </a:lnTo>
                    <a:lnTo>
                      <a:pt x="1895" y="90"/>
                    </a:lnTo>
                    <a:lnTo>
                      <a:pt x="1959" y="117"/>
                    </a:lnTo>
                    <a:lnTo>
                      <a:pt x="2022" y="146"/>
                    </a:lnTo>
                    <a:lnTo>
                      <a:pt x="2083" y="179"/>
                    </a:lnTo>
                    <a:lnTo>
                      <a:pt x="2142" y="216"/>
                    </a:lnTo>
                    <a:lnTo>
                      <a:pt x="2199" y="254"/>
                    </a:lnTo>
                    <a:lnTo>
                      <a:pt x="2254" y="296"/>
                    </a:lnTo>
                    <a:lnTo>
                      <a:pt x="2307" y="339"/>
                    </a:lnTo>
                    <a:lnTo>
                      <a:pt x="2359" y="386"/>
                    </a:lnTo>
                    <a:lnTo>
                      <a:pt x="2408" y="435"/>
                    </a:lnTo>
                    <a:lnTo>
                      <a:pt x="2454" y="487"/>
                    </a:lnTo>
                    <a:lnTo>
                      <a:pt x="2499" y="540"/>
                    </a:lnTo>
                    <a:lnTo>
                      <a:pt x="2540" y="597"/>
                    </a:lnTo>
                    <a:lnTo>
                      <a:pt x="2579" y="655"/>
                    </a:lnTo>
                    <a:lnTo>
                      <a:pt x="2616" y="715"/>
                    </a:lnTo>
                    <a:lnTo>
                      <a:pt x="2651" y="777"/>
                    </a:lnTo>
                    <a:lnTo>
                      <a:pt x="2682" y="841"/>
                    </a:lnTo>
                    <a:lnTo>
                      <a:pt x="2710" y="907"/>
                    </a:lnTo>
                    <a:lnTo>
                      <a:pt x="2735" y="974"/>
                    </a:lnTo>
                    <a:lnTo>
                      <a:pt x="2757" y="1044"/>
                    </a:lnTo>
                    <a:lnTo>
                      <a:pt x="2776" y="1114"/>
                    </a:lnTo>
                    <a:lnTo>
                      <a:pt x="2792" y="1186"/>
                    </a:lnTo>
                    <a:lnTo>
                      <a:pt x="2804" y="1259"/>
                    </a:lnTo>
                    <a:lnTo>
                      <a:pt x="2813" y="1333"/>
                    </a:lnTo>
                    <a:lnTo>
                      <a:pt x="2819" y="1409"/>
                    </a:lnTo>
                    <a:lnTo>
                      <a:pt x="2821" y="1485"/>
                    </a:lnTo>
                    <a:lnTo>
                      <a:pt x="2819" y="1561"/>
                    </a:lnTo>
                    <a:lnTo>
                      <a:pt x="2813" y="1637"/>
                    </a:lnTo>
                    <a:lnTo>
                      <a:pt x="2804" y="1711"/>
                    </a:lnTo>
                    <a:lnTo>
                      <a:pt x="2792" y="1784"/>
                    </a:lnTo>
                    <a:lnTo>
                      <a:pt x="2776" y="1856"/>
                    </a:lnTo>
                    <a:lnTo>
                      <a:pt x="2757" y="1926"/>
                    </a:lnTo>
                    <a:lnTo>
                      <a:pt x="2735" y="1995"/>
                    </a:lnTo>
                    <a:lnTo>
                      <a:pt x="2710" y="2063"/>
                    </a:lnTo>
                    <a:lnTo>
                      <a:pt x="2682" y="2128"/>
                    </a:lnTo>
                    <a:lnTo>
                      <a:pt x="2651" y="2192"/>
                    </a:lnTo>
                    <a:lnTo>
                      <a:pt x="2616" y="2255"/>
                    </a:lnTo>
                    <a:lnTo>
                      <a:pt x="2579" y="2315"/>
                    </a:lnTo>
                    <a:lnTo>
                      <a:pt x="2540" y="2373"/>
                    </a:lnTo>
                    <a:lnTo>
                      <a:pt x="2499" y="2429"/>
                    </a:lnTo>
                    <a:lnTo>
                      <a:pt x="2454" y="2483"/>
                    </a:lnTo>
                    <a:lnTo>
                      <a:pt x="2408" y="2534"/>
                    </a:lnTo>
                    <a:lnTo>
                      <a:pt x="2359" y="2583"/>
                    </a:lnTo>
                    <a:lnTo>
                      <a:pt x="2307" y="2631"/>
                    </a:lnTo>
                    <a:lnTo>
                      <a:pt x="2254" y="2675"/>
                    </a:lnTo>
                    <a:lnTo>
                      <a:pt x="2199" y="2716"/>
                    </a:lnTo>
                    <a:lnTo>
                      <a:pt x="2142" y="2755"/>
                    </a:lnTo>
                    <a:lnTo>
                      <a:pt x="2083" y="2790"/>
                    </a:lnTo>
                    <a:lnTo>
                      <a:pt x="2022" y="2823"/>
                    </a:lnTo>
                    <a:lnTo>
                      <a:pt x="1959" y="2853"/>
                    </a:lnTo>
                    <a:lnTo>
                      <a:pt x="1895" y="2879"/>
                    </a:lnTo>
                    <a:lnTo>
                      <a:pt x="1830" y="2902"/>
                    </a:lnTo>
                    <a:lnTo>
                      <a:pt x="1763" y="2922"/>
                    </a:lnTo>
                    <a:lnTo>
                      <a:pt x="1695" y="2939"/>
                    </a:lnTo>
                    <a:lnTo>
                      <a:pt x="1625" y="2952"/>
                    </a:lnTo>
                    <a:lnTo>
                      <a:pt x="1555" y="2961"/>
                    </a:lnTo>
                    <a:lnTo>
                      <a:pt x="1483" y="2967"/>
                    </a:lnTo>
                    <a:lnTo>
                      <a:pt x="1411" y="2969"/>
                    </a:lnTo>
                    <a:lnTo>
                      <a:pt x="1338" y="2967"/>
                    </a:lnTo>
                    <a:lnTo>
                      <a:pt x="1266" y="2961"/>
                    </a:lnTo>
                    <a:lnTo>
                      <a:pt x="1196" y="2952"/>
                    </a:lnTo>
                    <a:lnTo>
                      <a:pt x="1127" y="2939"/>
                    </a:lnTo>
                    <a:lnTo>
                      <a:pt x="1058" y="2922"/>
                    </a:lnTo>
                    <a:lnTo>
                      <a:pt x="991" y="2902"/>
                    </a:lnTo>
                    <a:lnTo>
                      <a:pt x="926" y="2879"/>
                    </a:lnTo>
                    <a:lnTo>
                      <a:pt x="862" y="2853"/>
                    </a:lnTo>
                    <a:lnTo>
                      <a:pt x="800" y="2823"/>
                    </a:lnTo>
                    <a:lnTo>
                      <a:pt x="738" y="2790"/>
                    </a:lnTo>
                    <a:lnTo>
                      <a:pt x="679" y="2755"/>
                    </a:lnTo>
                    <a:lnTo>
                      <a:pt x="622" y="2716"/>
                    </a:lnTo>
                    <a:lnTo>
                      <a:pt x="567" y="2675"/>
                    </a:lnTo>
                    <a:lnTo>
                      <a:pt x="514" y="2631"/>
                    </a:lnTo>
                    <a:lnTo>
                      <a:pt x="463" y="2583"/>
                    </a:lnTo>
                    <a:lnTo>
                      <a:pt x="413" y="2534"/>
                    </a:lnTo>
                    <a:lnTo>
                      <a:pt x="367" y="2483"/>
                    </a:lnTo>
                    <a:lnTo>
                      <a:pt x="322" y="2429"/>
                    </a:lnTo>
                    <a:lnTo>
                      <a:pt x="281" y="2373"/>
                    </a:lnTo>
                    <a:lnTo>
                      <a:pt x="242" y="2315"/>
                    </a:lnTo>
                    <a:lnTo>
                      <a:pt x="205" y="2255"/>
                    </a:lnTo>
                    <a:lnTo>
                      <a:pt x="171" y="2192"/>
                    </a:lnTo>
                    <a:lnTo>
                      <a:pt x="140" y="2128"/>
                    </a:lnTo>
                    <a:lnTo>
                      <a:pt x="111" y="2063"/>
                    </a:lnTo>
                    <a:lnTo>
                      <a:pt x="86" y="1995"/>
                    </a:lnTo>
                    <a:lnTo>
                      <a:pt x="64" y="1926"/>
                    </a:lnTo>
                    <a:lnTo>
                      <a:pt x="45" y="1856"/>
                    </a:lnTo>
                    <a:lnTo>
                      <a:pt x="29" y="1784"/>
                    </a:lnTo>
                    <a:lnTo>
                      <a:pt x="17" y="1711"/>
                    </a:lnTo>
                    <a:lnTo>
                      <a:pt x="8" y="1637"/>
                    </a:lnTo>
                    <a:lnTo>
                      <a:pt x="2" y="1561"/>
                    </a:lnTo>
                    <a:lnTo>
                      <a:pt x="0" y="1485"/>
                    </a:lnTo>
                    <a:lnTo>
                      <a:pt x="2" y="1409"/>
                    </a:lnTo>
                    <a:lnTo>
                      <a:pt x="8" y="1333"/>
                    </a:lnTo>
                    <a:lnTo>
                      <a:pt x="17" y="1259"/>
                    </a:lnTo>
                    <a:lnTo>
                      <a:pt x="29" y="1186"/>
                    </a:lnTo>
                    <a:lnTo>
                      <a:pt x="45" y="1114"/>
                    </a:lnTo>
                    <a:lnTo>
                      <a:pt x="64" y="1044"/>
                    </a:lnTo>
                    <a:lnTo>
                      <a:pt x="86" y="974"/>
                    </a:lnTo>
                    <a:lnTo>
                      <a:pt x="111" y="907"/>
                    </a:lnTo>
                    <a:lnTo>
                      <a:pt x="140" y="841"/>
                    </a:lnTo>
                    <a:lnTo>
                      <a:pt x="171" y="777"/>
                    </a:lnTo>
                    <a:lnTo>
                      <a:pt x="205" y="715"/>
                    </a:lnTo>
                    <a:lnTo>
                      <a:pt x="242" y="655"/>
                    </a:lnTo>
                    <a:lnTo>
                      <a:pt x="281" y="597"/>
                    </a:lnTo>
                    <a:lnTo>
                      <a:pt x="322" y="540"/>
                    </a:lnTo>
                    <a:lnTo>
                      <a:pt x="367" y="487"/>
                    </a:lnTo>
                    <a:lnTo>
                      <a:pt x="413" y="435"/>
                    </a:lnTo>
                    <a:lnTo>
                      <a:pt x="463" y="386"/>
                    </a:lnTo>
                    <a:lnTo>
                      <a:pt x="514" y="339"/>
                    </a:lnTo>
                    <a:lnTo>
                      <a:pt x="567" y="296"/>
                    </a:lnTo>
                    <a:lnTo>
                      <a:pt x="622" y="254"/>
                    </a:lnTo>
                    <a:lnTo>
                      <a:pt x="679" y="216"/>
                    </a:lnTo>
                    <a:lnTo>
                      <a:pt x="738" y="179"/>
                    </a:lnTo>
                    <a:lnTo>
                      <a:pt x="800" y="146"/>
                    </a:lnTo>
                    <a:lnTo>
                      <a:pt x="862" y="117"/>
                    </a:lnTo>
                    <a:lnTo>
                      <a:pt x="926" y="90"/>
                    </a:lnTo>
                    <a:lnTo>
                      <a:pt x="991" y="67"/>
                    </a:lnTo>
                    <a:lnTo>
                      <a:pt x="1058" y="47"/>
                    </a:lnTo>
                    <a:lnTo>
                      <a:pt x="1127" y="30"/>
                    </a:lnTo>
                    <a:lnTo>
                      <a:pt x="1196" y="17"/>
                    </a:lnTo>
                    <a:lnTo>
                      <a:pt x="1266" y="8"/>
                    </a:lnTo>
                    <a:lnTo>
                      <a:pt x="1338" y="2"/>
                    </a:lnTo>
                    <a:lnTo>
                      <a:pt x="1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1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8" name="Freeform 11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9" name="Freeform 12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00" name="Freeform 13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solidFill>
                <a:srgbClr val="AA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01" name="Freeform 14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02" name="Freeform 15"/>
              <p:cNvSpPr>
                <a:spLocks/>
              </p:cNvSpPr>
              <p:nvPr/>
            </p:nvSpPr>
            <p:spPr bwMode="auto">
              <a:xfrm>
                <a:off x="1311275" y="5405438"/>
                <a:ext cx="169862" cy="114300"/>
              </a:xfrm>
              <a:custGeom>
                <a:avLst/>
                <a:gdLst>
                  <a:gd name="T0" fmla="*/ 2147483647 w 2144"/>
                  <a:gd name="T1" fmla="*/ 2147483647 h 1454"/>
                  <a:gd name="T2" fmla="*/ 2147483647 w 2144"/>
                  <a:gd name="T3" fmla="*/ 2147483647 h 1454"/>
                  <a:gd name="T4" fmla="*/ 2147483647 w 2144"/>
                  <a:gd name="T5" fmla="*/ 2147483647 h 1454"/>
                  <a:gd name="T6" fmla="*/ 2147483647 w 2144"/>
                  <a:gd name="T7" fmla="*/ 2147483647 h 1454"/>
                  <a:gd name="T8" fmla="*/ 2147483647 w 2144"/>
                  <a:gd name="T9" fmla="*/ 2147483647 h 1454"/>
                  <a:gd name="T10" fmla="*/ 2147483647 w 2144"/>
                  <a:gd name="T11" fmla="*/ 2147483647 h 1454"/>
                  <a:gd name="T12" fmla="*/ 2147483647 w 2144"/>
                  <a:gd name="T13" fmla="*/ 2147483647 h 1454"/>
                  <a:gd name="T14" fmla="*/ 2147483647 w 2144"/>
                  <a:gd name="T15" fmla="*/ 2147483647 h 1454"/>
                  <a:gd name="T16" fmla="*/ 2147483647 w 2144"/>
                  <a:gd name="T17" fmla="*/ 2147483647 h 1454"/>
                  <a:gd name="T18" fmla="*/ 2147483647 w 2144"/>
                  <a:gd name="T19" fmla="*/ 2147483647 h 1454"/>
                  <a:gd name="T20" fmla="*/ 2147483647 w 2144"/>
                  <a:gd name="T21" fmla="*/ 2147483647 h 1454"/>
                  <a:gd name="T22" fmla="*/ 2147483647 w 2144"/>
                  <a:gd name="T23" fmla="*/ 2147483647 h 1454"/>
                  <a:gd name="T24" fmla="*/ 2147483647 w 2144"/>
                  <a:gd name="T25" fmla="*/ 2147483647 h 1454"/>
                  <a:gd name="T26" fmla="*/ 2147483647 w 2144"/>
                  <a:gd name="T27" fmla="*/ 2147483647 h 1454"/>
                  <a:gd name="T28" fmla="*/ 2147483647 w 2144"/>
                  <a:gd name="T29" fmla="*/ 2147483647 h 1454"/>
                  <a:gd name="T30" fmla="*/ 2147483647 w 2144"/>
                  <a:gd name="T31" fmla="*/ 2147483647 h 1454"/>
                  <a:gd name="T32" fmla="*/ 2147483647 w 2144"/>
                  <a:gd name="T33" fmla="*/ 2147483647 h 1454"/>
                  <a:gd name="T34" fmla="*/ 2147483647 w 2144"/>
                  <a:gd name="T35" fmla="*/ 2147483647 h 1454"/>
                  <a:gd name="T36" fmla="*/ 2147483647 w 2144"/>
                  <a:gd name="T37" fmla="*/ 2147483647 h 1454"/>
                  <a:gd name="T38" fmla="*/ 2147483647 w 2144"/>
                  <a:gd name="T39" fmla="*/ 2147483647 h 1454"/>
                  <a:gd name="T40" fmla="*/ 2147483647 w 2144"/>
                  <a:gd name="T41" fmla="*/ 2147483647 h 1454"/>
                  <a:gd name="T42" fmla="*/ 2147483647 w 2144"/>
                  <a:gd name="T43" fmla="*/ 2147483647 h 1454"/>
                  <a:gd name="T44" fmla="*/ 2147483647 w 2144"/>
                  <a:gd name="T45" fmla="*/ 2147483647 h 1454"/>
                  <a:gd name="T46" fmla="*/ 2147483647 w 2144"/>
                  <a:gd name="T47" fmla="*/ 2147483647 h 1454"/>
                  <a:gd name="T48" fmla="*/ 2147483647 w 2144"/>
                  <a:gd name="T49" fmla="*/ 2147483647 h 1454"/>
                  <a:gd name="T50" fmla="*/ 2147483647 w 2144"/>
                  <a:gd name="T51" fmla="*/ 2147483647 h 1454"/>
                  <a:gd name="T52" fmla="*/ 2147483647 w 2144"/>
                  <a:gd name="T53" fmla="*/ 2147483647 h 1454"/>
                  <a:gd name="T54" fmla="*/ 2147483647 w 2144"/>
                  <a:gd name="T55" fmla="*/ 2147483647 h 1454"/>
                  <a:gd name="T56" fmla="*/ 2147483647 w 2144"/>
                  <a:gd name="T57" fmla="*/ 2147483647 h 1454"/>
                  <a:gd name="T58" fmla="*/ 2147483647 w 2144"/>
                  <a:gd name="T59" fmla="*/ 2147483647 h 1454"/>
                  <a:gd name="T60" fmla="*/ 2147483647 w 2144"/>
                  <a:gd name="T61" fmla="*/ 2147483647 h 1454"/>
                  <a:gd name="T62" fmla="*/ 2147483647 w 2144"/>
                  <a:gd name="T63" fmla="*/ 2147483647 h 1454"/>
                  <a:gd name="T64" fmla="*/ 2147483647 w 2144"/>
                  <a:gd name="T65" fmla="*/ 2147483647 h 1454"/>
                  <a:gd name="T66" fmla="*/ 2147483647 w 2144"/>
                  <a:gd name="T67" fmla="*/ 2147483647 h 1454"/>
                  <a:gd name="T68" fmla="*/ 2147483647 w 2144"/>
                  <a:gd name="T69" fmla="*/ 2147483647 h 1454"/>
                  <a:gd name="T70" fmla="*/ 2147483647 w 2144"/>
                  <a:gd name="T71" fmla="*/ 2147483647 h 1454"/>
                  <a:gd name="T72" fmla="*/ 2147483647 w 2144"/>
                  <a:gd name="T73" fmla="*/ 2147483647 h 1454"/>
                  <a:gd name="T74" fmla="*/ 2147483647 w 2144"/>
                  <a:gd name="T75" fmla="*/ 2147483647 h 1454"/>
                  <a:gd name="T76" fmla="*/ 2147483647 w 2144"/>
                  <a:gd name="T77" fmla="*/ 2147483647 h 1454"/>
                  <a:gd name="T78" fmla="*/ 2147483647 w 2144"/>
                  <a:gd name="T79" fmla="*/ 2147483647 h 1454"/>
                  <a:gd name="T80" fmla="*/ 2147483647 w 2144"/>
                  <a:gd name="T81" fmla="*/ 2147483647 h 1454"/>
                  <a:gd name="T82" fmla="*/ 2147483647 w 2144"/>
                  <a:gd name="T83" fmla="*/ 2147483647 h 1454"/>
                  <a:gd name="T84" fmla="*/ 2147483647 w 2144"/>
                  <a:gd name="T85" fmla="*/ 2147483647 h 1454"/>
                  <a:gd name="T86" fmla="*/ 2147483647 w 2144"/>
                  <a:gd name="T87" fmla="*/ 2147483647 h 1454"/>
                  <a:gd name="T88" fmla="*/ 2147483647 w 2144"/>
                  <a:gd name="T89" fmla="*/ 2147483647 h 1454"/>
                  <a:gd name="T90" fmla="*/ 2147483647 w 2144"/>
                  <a:gd name="T91" fmla="*/ 2147483647 h 1454"/>
                  <a:gd name="T92" fmla="*/ 2147483647 w 2144"/>
                  <a:gd name="T93" fmla="*/ 0 h 1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44"/>
                  <a:gd name="T142" fmla="*/ 0 h 1454"/>
                  <a:gd name="T143" fmla="*/ 2144 w 2144"/>
                  <a:gd name="T144" fmla="*/ 1454 h 1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44" h="1454">
                    <a:moveTo>
                      <a:pt x="931" y="115"/>
                    </a:moveTo>
                    <a:lnTo>
                      <a:pt x="255" y="517"/>
                    </a:lnTo>
                    <a:lnTo>
                      <a:pt x="133" y="624"/>
                    </a:lnTo>
                    <a:lnTo>
                      <a:pt x="125" y="635"/>
                    </a:lnTo>
                    <a:lnTo>
                      <a:pt x="106" y="666"/>
                    </a:lnTo>
                    <a:lnTo>
                      <a:pt x="94" y="689"/>
                    </a:lnTo>
                    <a:lnTo>
                      <a:pt x="80" y="715"/>
                    </a:lnTo>
                    <a:lnTo>
                      <a:pt x="66" y="746"/>
                    </a:lnTo>
                    <a:lnTo>
                      <a:pt x="52" y="779"/>
                    </a:lnTo>
                    <a:lnTo>
                      <a:pt x="38" y="815"/>
                    </a:lnTo>
                    <a:lnTo>
                      <a:pt x="26" y="853"/>
                    </a:lnTo>
                    <a:lnTo>
                      <a:pt x="20" y="872"/>
                    </a:lnTo>
                    <a:lnTo>
                      <a:pt x="15" y="892"/>
                    </a:lnTo>
                    <a:lnTo>
                      <a:pt x="11" y="913"/>
                    </a:lnTo>
                    <a:lnTo>
                      <a:pt x="7" y="934"/>
                    </a:lnTo>
                    <a:lnTo>
                      <a:pt x="4" y="955"/>
                    </a:lnTo>
                    <a:lnTo>
                      <a:pt x="2" y="976"/>
                    </a:lnTo>
                    <a:lnTo>
                      <a:pt x="1" y="998"/>
                    </a:lnTo>
                    <a:lnTo>
                      <a:pt x="0" y="1019"/>
                    </a:lnTo>
                    <a:lnTo>
                      <a:pt x="1" y="1041"/>
                    </a:lnTo>
                    <a:lnTo>
                      <a:pt x="3" y="1063"/>
                    </a:lnTo>
                    <a:lnTo>
                      <a:pt x="6" y="1085"/>
                    </a:lnTo>
                    <a:lnTo>
                      <a:pt x="10" y="1106"/>
                    </a:lnTo>
                    <a:lnTo>
                      <a:pt x="15" y="1129"/>
                    </a:lnTo>
                    <a:lnTo>
                      <a:pt x="23" y="1152"/>
                    </a:lnTo>
                    <a:lnTo>
                      <a:pt x="31" y="1175"/>
                    </a:lnTo>
                    <a:lnTo>
                      <a:pt x="42" y="1199"/>
                    </a:lnTo>
                    <a:lnTo>
                      <a:pt x="54" y="1223"/>
                    </a:lnTo>
                    <a:lnTo>
                      <a:pt x="68" y="1247"/>
                    </a:lnTo>
                    <a:lnTo>
                      <a:pt x="83" y="1271"/>
                    </a:lnTo>
                    <a:lnTo>
                      <a:pt x="100" y="1295"/>
                    </a:lnTo>
                    <a:lnTo>
                      <a:pt x="118" y="1318"/>
                    </a:lnTo>
                    <a:lnTo>
                      <a:pt x="138" y="1340"/>
                    </a:lnTo>
                    <a:lnTo>
                      <a:pt x="159" y="1361"/>
                    </a:lnTo>
                    <a:lnTo>
                      <a:pt x="182" y="1381"/>
                    </a:lnTo>
                    <a:lnTo>
                      <a:pt x="194" y="1391"/>
                    </a:lnTo>
                    <a:lnTo>
                      <a:pt x="206" y="1400"/>
                    </a:lnTo>
                    <a:lnTo>
                      <a:pt x="219" y="1409"/>
                    </a:lnTo>
                    <a:lnTo>
                      <a:pt x="232" y="1417"/>
                    </a:lnTo>
                    <a:lnTo>
                      <a:pt x="246" y="1425"/>
                    </a:lnTo>
                    <a:lnTo>
                      <a:pt x="259" y="1432"/>
                    </a:lnTo>
                    <a:lnTo>
                      <a:pt x="273" y="1439"/>
                    </a:lnTo>
                    <a:lnTo>
                      <a:pt x="288" y="1445"/>
                    </a:lnTo>
                    <a:lnTo>
                      <a:pt x="299" y="1449"/>
                    </a:lnTo>
                    <a:lnTo>
                      <a:pt x="312" y="1451"/>
                    </a:lnTo>
                    <a:lnTo>
                      <a:pt x="324" y="1453"/>
                    </a:lnTo>
                    <a:lnTo>
                      <a:pt x="336" y="1454"/>
                    </a:lnTo>
                    <a:lnTo>
                      <a:pt x="361" y="1454"/>
                    </a:lnTo>
                    <a:lnTo>
                      <a:pt x="387" y="1452"/>
                    </a:lnTo>
                    <a:lnTo>
                      <a:pt x="413" y="1448"/>
                    </a:lnTo>
                    <a:lnTo>
                      <a:pt x="441" y="1445"/>
                    </a:lnTo>
                    <a:lnTo>
                      <a:pt x="455" y="1444"/>
                    </a:lnTo>
                    <a:lnTo>
                      <a:pt x="469" y="1444"/>
                    </a:lnTo>
                    <a:lnTo>
                      <a:pt x="483" y="1444"/>
                    </a:lnTo>
                    <a:lnTo>
                      <a:pt x="498" y="1445"/>
                    </a:lnTo>
                    <a:lnTo>
                      <a:pt x="528" y="1446"/>
                    </a:lnTo>
                    <a:lnTo>
                      <a:pt x="560" y="1445"/>
                    </a:lnTo>
                    <a:lnTo>
                      <a:pt x="592" y="1443"/>
                    </a:lnTo>
                    <a:lnTo>
                      <a:pt x="626" y="1438"/>
                    </a:lnTo>
                    <a:lnTo>
                      <a:pt x="659" y="1432"/>
                    </a:lnTo>
                    <a:lnTo>
                      <a:pt x="694" y="1425"/>
                    </a:lnTo>
                    <a:lnTo>
                      <a:pt x="729" y="1416"/>
                    </a:lnTo>
                    <a:lnTo>
                      <a:pt x="764" y="1405"/>
                    </a:lnTo>
                    <a:lnTo>
                      <a:pt x="800" y="1393"/>
                    </a:lnTo>
                    <a:lnTo>
                      <a:pt x="836" y="1380"/>
                    </a:lnTo>
                    <a:lnTo>
                      <a:pt x="873" y="1365"/>
                    </a:lnTo>
                    <a:lnTo>
                      <a:pt x="910" y="1350"/>
                    </a:lnTo>
                    <a:lnTo>
                      <a:pt x="948" y="1333"/>
                    </a:lnTo>
                    <a:lnTo>
                      <a:pt x="985" y="1315"/>
                    </a:lnTo>
                    <a:lnTo>
                      <a:pt x="1022" y="1296"/>
                    </a:lnTo>
                    <a:lnTo>
                      <a:pt x="1060" y="1277"/>
                    </a:lnTo>
                    <a:lnTo>
                      <a:pt x="1097" y="1257"/>
                    </a:lnTo>
                    <a:lnTo>
                      <a:pt x="1134" y="1236"/>
                    </a:lnTo>
                    <a:lnTo>
                      <a:pt x="1171" y="1214"/>
                    </a:lnTo>
                    <a:lnTo>
                      <a:pt x="1208" y="1192"/>
                    </a:lnTo>
                    <a:lnTo>
                      <a:pt x="1282" y="1147"/>
                    </a:lnTo>
                    <a:lnTo>
                      <a:pt x="1354" y="1100"/>
                    </a:lnTo>
                    <a:lnTo>
                      <a:pt x="1424" y="1053"/>
                    </a:lnTo>
                    <a:lnTo>
                      <a:pt x="1491" y="1006"/>
                    </a:lnTo>
                    <a:lnTo>
                      <a:pt x="1556" y="961"/>
                    </a:lnTo>
                    <a:lnTo>
                      <a:pt x="1617" y="916"/>
                    </a:lnTo>
                    <a:lnTo>
                      <a:pt x="1681" y="868"/>
                    </a:lnTo>
                    <a:lnTo>
                      <a:pt x="1741" y="822"/>
                    </a:lnTo>
                    <a:lnTo>
                      <a:pt x="1797" y="778"/>
                    </a:lnTo>
                    <a:lnTo>
                      <a:pt x="1849" y="737"/>
                    </a:lnTo>
                    <a:lnTo>
                      <a:pt x="1897" y="697"/>
                    </a:lnTo>
                    <a:lnTo>
                      <a:pt x="1940" y="661"/>
                    </a:lnTo>
                    <a:lnTo>
                      <a:pt x="1979" y="627"/>
                    </a:lnTo>
                    <a:lnTo>
                      <a:pt x="2014" y="597"/>
                    </a:lnTo>
                    <a:lnTo>
                      <a:pt x="2071" y="545"/>
                    </a:lnTo>
                    <a:lnTo>
                      <a:pt x="2112" y="507"/>
                    </a:lnTo>
                    <a:lnTo>
                      <a:pt x="2136" y="483"/>
                    </a:lnTo>
                    <a:lnTo>
                      <a:pt x="2144" y="475"/>
                    </a:lnTo>
                    <a:lnTo>
                      <a:pt x="1554" y="0"/>
                    </a:lnTo>
                    <a:lnTo>
                      <a:pt x="93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03" name="Freeform 16"/>
              <p:cNvSpPr>
                <a:spLocks/>
              </p:cNvSpPr>
              <p:nvPr/>
            </p:nvSpPr>
            <p:spPr bwMode="auto">
              <a:xfrm>
                <a:off x="1311275" y="5416550"/>
                <a:ext cx="171450" cy="104775"/>
              </a:xfrm>
              <a:custGeom>
                <a:avLst/>
                <a:gdLst>
                  <a:gd name="T0" fmla="*/ 2147483647 w 2152"/>
                  <a:gd name="T1" fmla="*/ 2147483647 h 1326"/>
                  <a:gd name="T2" fmla="*/ 2147483647 w 2152"/>
                  <a:gd name="T3" fmla="*/ 2147483647 h 1326"/>
                  <a:gd name="T4" fmla="*/ 2147483647 w 2152"/>
                  <a:gd name="T5" fmla="*/ 2147483647 h 1326"/>
                  <a:gd name="T6" fmla="*/ 2147483647 w 2152"/>
                  <a:gd name="T7" fmla="*/ 2147483647 h 1326"/>
                  <a:gd name="T8" fmla="*/ 2147483647 w 2152"/>
                  <a:gd name="T9" fmla="*/ 2147483647 h 1326"/>
                  <a:gd name="T10" fmla="*/ 2147483647 w 2152"/>
                  <a:gd name="T11" fmla="*/ 2147483647 h 1326"/>
                  <a:gd name="T12" fmla="*/ 2147483647 w 2152"/>
                  <a:gd name="T13" fmla="*/ 2147483647 h 1326"/>
                  <a:gd name="T14" fmla="*/ 2147483647 w 2152"/>
                  <a:gd name="T15" fmla="*/ 2147483647 h 1326"/>
                  <a:gd name="T16" fmla="*/ 2147483647 w 2152"/>
                  <a:gd name="T17" fmla="*/ 2147483647 h 1326"/>
                  <a:gd name="T18" fmla="*/ 2147483647 w 2152"/>
                  <a:gd name="T19" fmla="*/ 2147483647 h 1326"/>
                  <a:gd name="T20" fmla="*/ 2147483647 w 2152"/>
                  <a:gd name="T21" fmla="*/ 2147483647 h 1326"/>
                  <a:gd name="T22" fmla="*/ 2147483647 w 2152"/>
                  <a:gd name="T23" fmla="*/ 2147483647 h 1326"/>
                  <a:gd name="T24" fmla="*/ 2147483647 w 2152"/>
                  <a:gd name="T25" fmla="*/ 2147483647 h 1326"/>
                  <a:gd name="T26" fmla="*/ 2147483647 w 2152"/>
                  <a:gd name="T27" fmla="*/ 2147483647 h 1326"/>
                  <a:gd name="T28" fmla="*/ 2147483647 w 2152"/>
                  <a:gd name="T29" fmla="*/ 2147483647 h 1326"/>
                  <a:gd name="T30" fmla="*/ 2147483647 w 2152"/>
                  <a:gd name="T31" fmla="*/ 2147483647 h 1326"/>
                  <a:gd name="T32" fmla="*/ 2147483647 w 2152"/>
                  <a:gd name="T33" fmla="*/ 2147483647 h 1326"/>
                  <a:gd name="T34" fmla="*/ 2147483647 w 2152"/>
                  <a:gd name="T35" fmla="*/ 2147483647 h 1326"/>
                  <a:gd name="T36" fmla="*/ 0 w 2152"/>
                  <a:gd name="T37" fmla="*/ 2147483647 h 1326"/>
                  <a:gd name="T38" fmla="*/ 2147483647 w 2152"/>
                  <a:gd name="T39" fmla="*/ 2147483647 h 1326"/>
                  <a:gd name="T40" fmla="*/ 2147483647 w 2152"/>
                  <a:gd name="T41" fmla="*/ 2147483647 h 1326"/>
                  <a:gd name="T42" fmla="*/ 2147483647 w 2152"/>
                  <a:gd name="T43" fmla="*/ 2147483647 h 1326"/>
                  <a:gd name="T44" fmla="*/ 2147483647 w 2152"/>
                  <a:gd name="T45" fmla="*/ 2147483647 h 1326"/>
                  <a:gd name="T46" fmla="*/ 2147483647 w 2152"/>
                  <a:gd name="T47" fmla="*/ 2147483647 h 1326"/>
                  <a:gd name="T48" fmla="*/ 2147483647 w 2152"/>
                  <a:gd name="T49" fmla="*/ 2147483647 h 1326"/>
                  <a:gd name="T50" fmla="*/ 2147483647 w 2152"/>
                  <a:gd name="T51" fmla="*/ 2147483647 h 1326"/>
                  <a:gd name="T52" fmla="*/ 2147483647 w 2152"/>
                  <a:gd name="T53" fmla="*/ 2147483647 h 1326"/>
                  <a:gd name="T54" fmla="*/ 2147483647 w 2152"/>
                  <a:gd name="T55" fmla="*/ 2147483647 h 1326"/>
                  <a:gd name="T56" fmla="*/ 2147483647 w 2152"/>
                  <a:gd name="T57" fmla="*/ 2147483647 h 1326"/>
                  <a:gd name="T58" fmla="*/ 2147483647 w 2152"/>
                  <a:gd name="T59" fmla="*/ 2147483647 h 1326"/>
                  <a:gd name="T60" fmla="*/ 2147483647 w 2152"/>
                  <a:gd name="T61" fmla="*/ 2147483647 h 1326"/>
                  <a:gd name="T62" fmla="*/ 2147483647 w 2152"/>
                  <a:gd name="T63" fmla="*/ 2147483647 h 1326"/>
                  <a:gd name="T64" fmla="*/ 2147483647 w 2152"/>
                  <a:gd name="T65" fmla="*/ 2147483647 h 1326"/>
                  <a:gd name="T66" fmla="*/ 2147483647 w 2152"/>
                  <a:gd name="T67" fmla="*/ 2147483647 h 1326"/>
                  <a:gd name="T68" fmla="*/ 2147483647 w 2152"/>
                  <a:gd name="T69" fmla="*/ 2147483647 h 1326"/>
                  <a:gd name="T70" fmla="*/ 2147483647 w 2152"/>
                  <a:gd name="T71" fmla="*/ 2147483647 h 1326"/>
                  <a:gd name="T72" fmla="*/ 2147483647 w 2152"/>
                  <a:gd name="T73" fmla="*/ 2147483647 h 1326"/>
                  <a:gd name="T74" fmla="*/ 2147483647 w 2152"/>
                  <a:gd name="T75" fmla="*/ 2147483647 h 1326"/>
                  <a:gd name="T76" fmla="*/ 2147483647 w 2152"/>
                  <a:gd name="T77" fmla="*/ 2147483647 h 1326"/>
                  <a:gd name="T78" fmla="*/ 2147483647 w 2152"/>
                  <a:gd name="T79" fmla="*/ 2147483647 h 1326"/>
                  <a:gd name="T80" fmla="*/ 2147483647 w 2152"/>
                  <a:gd name="T81" fmla="*/ 2147483647 h 1326"/>
                  <a:gd name="T82" fmla="*/ 2147483647 w 2152"/>
                  <a:gd name="T83" fmla="*/ 2147483647 h 1326"/>
                  <a:gd name="T84" fmla="*/ 2147483647 w 2152"/>
                  <a:gd name="T85" fmla="*/ 2147483647 h 1326"/>
                  <a:gd name="T86" fmla="*/ 2147483647 w 2152"/>
                  <a:gd name="T87" fmla="*/ 2147483647 h 1326"/>
                  <a:gd name="T88" fmla="*/ 2147483647 w 2152"/>
                  <a:gd name="T89" fmla="*/ 2147483647 h 1326"/>
                  <a:gd name="T90" fmla="*/ 2147483647 w 2152"/>
                  <a:gd name="T91" fmla="*/ 2147483647 h 1326"/>
                  <a:gd name="T92" fmla="*/ 2147483647 w 2152"/>
                  <a:gd name="T93" fmla="*/ 2147483647 h 1326"/>
                  <a:gd name="T94" fmla="*/ 2147483647 w 2152"/>
                  <a:gd name="T95" fmla="*/ 2147483647 h 1326"/>
                  <a:gd name="T96" fmla="*/ 2147483647 w 2152"/>
                  <a:gd name="T97" fmla="*/ 2147483647 h 1326"/>
                  <a:gd name="T98" fmla="*/ 2147483647 w 2152"/>
                  <a:gd name="T99" fmla="*/ 2147483647 h 1326"/>
                  <a:gd name="T100" fmla="*/ 2147483647 w 2152"/>
                  <a:gd name="T101" fmla="*/ 2147483647 h 1326"/>
                  <a:gd name="T102" fmla="*/ 2147483647 w 2152"/>
                  <a:gd name="T103" fmla="*/ 2147483647 h 1326"/>
                  <a:gd name="T104" fmla="*/ 2147483647 w 2152"/>
                  <a:gd name="T105" fmla="*/ 2147483647 h 1326"/>
                  <a:gd name="T106" fmla="*/ 2147483647 w 2152"/>
                  <a:gd name="T107" fmla="*/ 2147483647 h 13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52"/>
                  <a:gd name="T163" fmla="*/ 0 h 1326"/>
                  <a:gd name="T164" fmla="*/ 2152 w 2152"/>
                  <a:gd name="T165" fmla="*/ 1326 h 13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52" h="1326">
                    <a:moveTo>
                      <a:pt x="827" y="0"/>
                    </a:moveTo>
                    <a:lnTo>
                      <a:pt x="790" y="24"/>
                    </a:lnTo>
                    <a:lnTo>
                      <a:pt x="752" y="50"/>
                    </a:lnTo>
                    <a:lnTo>
                      <a:pt x="713" y="77"/>
                    </a:lnTo>
                    <a:lnTo>
                      <a:pt x="672" y="104"/>
                    </a:lnTo>
                    <a:lnTo>
                      <a:pt x="630" y="132"/>
                    </a:lnTo>
                    <a:lnTo>
                      <a:pt x="585" y="161"/>
                    </a:lnTo>
                    <a:lnTo>
                      <a:pt x="539" y="191"/>
                    </a:lnTo>
                    <a:lnTo>
                      <a:pt x="492" y="219"/>
                    </a:lnTo>
                    <a:lnTo>
                      <a:pt x="444" y="248"/>
                    </a:lnTo>
                    <a:lnTo>
                      <a:pt x="394" y="276"/>
                    </a:lnTo>
                    <a:lnTo>
                      <a:pt x="346" y="304"/>
                    </a:lnTo>
                    <a:lnTo>
                      <a:pt x="298" y="333"/>
                    </a:lnTo>
                    <a:lnTo>
                      <a:pt x="275" y="348"/>
                    </a:lnTo>
                    <a:lnTo>
                      <a:pt x="253" y="363"/>
                    </a:lnTo>
                    <a:lnTo>
                      <a:pt x="232" y="378"/>
                    </a:lnTo>
                    <a:lnTo>
                      <a:pt x="213" y="393"/>
                    </a:lnTo>
                    <a:lnTo>
                      <a:pt x="194" y="409"/>
                    </a:lnTo>
                    <a:lnTo>
                      <a:pt x="177" y="424"/>
                    </a:lnTo>
                    <a:lnTo>
                      <a:pt x="162" y="440"/>
                    </a:lnTo>
                    <a:lnTo>
                      <a:pt x="148" y="457"/>
                    </a:lnTo>
                    <a:lnTo>
                      <a:pt x="132" y="478"/>
                    </a:lnTo>
                    <a:lnTo>
                      <a:pt x="117" y="499"/>
                    </a:lnTo>
                    <a:lnTo>
                      <a:pt x="103" y="522"/>
                    </a:lnTo>
                    <a:lnTo>
                      <a:pt x="90" y="544"/>
                    </a:lnTo>
                    <a:lnTo>
                      <a:pt x="77" y="568"/>
                    </a:lnTo>
                    <a:lnTo>
                      <a:pt x="65" y="592"/>
                    </a:lnTo>
                    <a:lnTo>
                      <a:pt x="54" y="617"/>
                    </a:lnTo>
                    <a:lnTo>
                      <a:pt x="44" y="641"/>
                    </a:lnTo>
                    <a:lnTo>
                      <a:pt x="35" y="666"/>
                    </a:lnTo>
                    <a:lnTo>
                      <a:pt x="27" y="692"/>
                    </a:lnTo>
                    <a:lnTo>
                      <a:pt x="20" y="717"/>
                    </a:lnTo>
                    <a:lnTo>
                      <a:pt x="14" y="743"/>
                    </a:lnTo>
                    <a:lnTo>
                      <a:pt x="9" y="769"/>
                    </a:lnTo>
                    <a:lnTo>
                      <a:pt x="5" y="795"/>
                    </a:lnTo>
                    <a:lnTo>
                      <a:pt x="2" y="821"/>
                    </a:lnTo>
                    <a:lnTo>
                      <a:pt x="0" y="848"/>
                    </a:lnTo>
                    <a:lnTo>
                      <a:pt x="0" y="874"/>
                    </a:lnTo>
                    <a:lnTo>
                      <a:pt x="1" y="900"/>
                    </a:lnTo>
                    <a:lnTo>
                      <a:pt x="3" y="926"/>
                    </a:lnTo>
                    <a:lnTo>
                      <a:pt x="6" y="952"/>
                    </a:lnTo>
                    <a:lnTo>
                      <a:pt x="11" y="978"/>
                    </a:lnTo>
                    <a:lnTo>
                      <a:pt x="17" y="1004"/>
                    </a:lnTo>
                    <a:lnTo>
                      <a:pt x="25" y="1030"/>
                    </a:lnTo>
                    <a:lnTo>
                      <a:pt x="34" y="1054"/>
                    </a:lnTo>
                    <a:lnTo>
                      <a:pt x="44" y="1079"/>
                    </a:lnTo>
                    <a:lnTo>
                      <a:pt x="56" y="1103"/>
                    </a:lnTo>
                    <a:lnTo>
                      <a:pt x="69" y="1127"/>
                    </a:lnTo>
                    <a:lnTo>
                      <a:pt x="85" y="1150"/>
                    </a:lnTo>
                    <a:lnTo>
                      <a:pt x="101" y="1172"/>
                    </a:lnTo>
                    <a:lnTo>
                      <a:pt x="120" y="1194"/>
                    </a:lnTo>
                    <a:lnTo>
                      <a:pt x="140" y="1216"/>
                    </a:lnTo>
                    <a:lnTo>
                      <a:pt x="161" y="1236"/>
                    </a:lnTo>
                    <a:lnTo>
                      <a:pt x="178" y="1250"/>
                    </a:lnTo>
                    <a:lnTo>
                      <a:pt x="195" y="1262"/>
                    </a:lnTo>
                    <a:lnTo>
                      <a:pt x="214" y="1274"/>
                    </a:lnTo>
                    <a:lnTo>
                      <a:pt x="233" y="1284"/>
                    </a:lnTo>
                    <a:lnTo>
                      <a:pt x="253" y="1293"/>
                    </a:lnTo>
                    <a:lnTo>
                      <a:pt x="274" y="1300"/>
                    </a:lnTo>
                    <a:lnTo>
                      <a:pt x="296" y="1307"/>
                    </a:lnTo>
                    <a:lnTo>
                      <a:pt x="319" y="1313"/>
                    </a:lnTo>
                    <a:lnTo>
                      <a:pt x="343" y="1317"/>
                    </a:lnTo>
                    <a:lnTo>
                      <a:pt x="366" y="1321"/>
                    </a:lnTo>
                    <a:lnTo>
                      <a:pt x="391" y="1324"/>
                    </a:lnTo>
                    <a:lnTo>
                      <a:pt x="416" y="1325"/>
                    </a:lnTo>
                    <a:lnTo>
                      <a:pt x="442" y="1326"/>
                    </a:lnTo>
                    <a:lnTo>
                      <a:pt x="468" y="1325"/>
                    </a:lnTo>
                    <a:lnTo>
                      <a:pt x="495" y="1324"/>
                    </a:lnTo>
                    <a:lnTo>
                      <a:pt x="522" y="1322"/>
                    </a:lnTo>
                    <a:lnTo>
                      <a:pt x="549" y="1319"/>
                    </a:lnTo>
                    <a:lnTo>
                      <a:pt x="577" y="1316"/>
                    </a:lnTo>
                    <a:lnTo>
                      <a:pt x="606" y="1311"/>
                    </a:lnTo>
                    <a:lnTo>
                      <a:pt x="635" y="1306"/>
                    </a:lnTo>
                    <a:lnTo>
                      <a:pt x="664" y="1300"/>
                    </a:lnTo>
                    <a:lnTo>
                      <a:pt x="693" y="1293"/>
                    </a:lnTo>
                    <a:lnTo>
                      <a:pt x="722" y="1286"/>
                    </a:lnTo>
                    <a:lnTo>
                      <a:pt x="752" y="1277"/>
                    </a:lnTo>
                    <a:lnTo>
                      <a:pt x="781" y="1269"/>
                    </a:lnTo>
                    <a:lnTo>
                      <a:pt x="811" y="1259"/>
                    </a:lnTo>
                    <a:lnTo>
                      <a:pt x="840" y="1249"/>
                    </a:lnTo>
                    <a:lnTo>
                      <a:pt x="870" y="1239"/>
                    </a:lnTo>
                    <a:lnTo>
                      <a:pt x="899" y="1227"/>
                    </a:lnTo>
                    <a:lnTo>
                      <a:pt x="930" y="1216"/>
                    </a:lnTo>
                    <a:lnTo>
                      <a:pt x="959" y="1204"/>
                    </a:lnTo>
                    <a:lnTo>
                      <a:pt x="988" y="1191"/>
                    </a:lnTo>
                    <a:lnTo>
                      <a:pt x="1021" y="1176"/>
                    </a:lnTo>
                    <a:lnTo>
                      <a:pt x="1052" y="1161"/>
                    </a:lnTo>
                    <a:lnTo>
                      <a:pt x="1083" y="1145"/>
                    </a:lnTo>
                    <a:lnTo>
                      <a:pt x="1112" y="1129"/>
                    </a:lnTo>
                    <a:lnTo>
                      <a:pt x="1141" y="1113"/>
                    </a:lnTo>
                    <a:lnTo>
                      <a:pt x="1169" y="1096"/>
                    </a:lnTo>
                    <a:lnTo>
                      <a:pt x="1195" y="1079"/>
                    </a:lnTo>
                    <a:lnTo>
                      <a:pt x="1220" y="1062"/>
                    </a:lnTo>
                    <a:lnTo>
                      <a:pt x="1337" y="978"/>
                    </a:lnTo>
                    <a:lnTo>
                      <a:pt x="1444" y="900"/>
                    </a:lnTo>
                    <a:lnTo>
                      <a:pt x="1544" y="825"/>
                    </a:lnTo>
                    <a:lnTo>
                      <a:pt x="1636" y="756"/>
                    </a:lnTo>
                    <a:lnTo>
                      <a:pt x="1719" y="691"/>
                    </a:lnTo>
                    <a:lnTo>
                      <a:pt x="1796" y="631"/>
                    </a:lnTo>
                    <a:lnTo>
                      <a:pt x="1865" y="575"/>
                    </a:lnTo>
                    <a:lnTo>
                      <a:pt x="1926" y="525"/>
                    </a:lnTo>
                    <a:lnTo>
                      <a:pt x="1980" y="481"/>
                    </a:lnTo>
                    <a:lnTo>
                      <a:pt x="2026" y="442"/>
                    </a:lnTo>
                    <a:lnTo>
                      <a:pt x="2064" y="408"/>
                    </a:lnTo>
                    <a:lnTo>
                      <a:pt x="2096" y="380"/>
                    </a:lnTo>
                    <a:lnTo>
                      <a:pt x="2120" y="359"/>
                    </a:lnTo>
                    <a:lnTo>
                      <a:pt x="2138" y="343"/>
                    </a:lnTo>
                    <a:lnTo>
                      <a:pt x="2148" y="333"/>
                    </a:lnTo>
                    <a:lnTo>
                      <a:pt x="2152" y="330"/>
                    </a:lnTo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04" name="Freeform 17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505" name="Freeform 18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54283" name="Группа 281"/>
          <p:cNvGrpSpPr>
            <a:grpSpLocks/>
          </p:cNvGrpSpPr>
          <p:nvPr/>
        </p:nvGrpSpPr>
        <p:grpSpPr bwMode="auto">
          <a:xfrm>
            <a:off x="280988" y="2514600"/>
            <a:ext cx="1152525" cy="909638"/>
            <a:chOff x="418547" y="5354344"/>
            <a:chExt cx="1153057" cy="910364"/>
          </a:xfrm>
        </p:grpSpPr>
        <p:sp>
          <p:nvSpPr>
            <p:cNvPr id="5" name="Скругленный прямоугольник 282"/>
            <p:cNvSpPr/>
            <p:nvPr/>
          </p:nvSpPr>
          <p:spPr>
            <a:xfrm>
              <a:off x="428076" y="5354344"/>
              <a:ext cx="1143528" cy="571956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ЛПУ</a:t>
              </a:r>
            </a:p>
            <a:p>
              <a:pPr algn="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первичного </a:t>
              </a:r>
            </a:p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звена</a:t>
              </a:r>
              <a:endParaRPr lang="ru-RU" sz="1100" dirty="0"/>
            </a:p>
          </p:txBody>
        </p:sp>
        <p:grpSp>
          <p:nvGrpSpPr>
            <p:cNvPr id="54481" name="Группа 283"/>
            <p:cNvGrpSpPr>
              <a:grpSpLocks/>
            </p:cNvGrpSpPr>
            <p:nvPr/>
          </p:nvGrpSpPr>
          <p:grpSpPr bwMode="auto">
            <a:xfrm flipH="1">
              <a:off x="418547" y="5546754"/>
              <a:ext cx="319588" cy="717954"/>
              <a:chOff x="928688" y="5000627"/>
              <a:chExt cx="566738" cy="1273176"/>
            </a:xfrm>
          </p:grpSpPr>
          <p:sp>
            <p:nvSpPr>
              <p:cNvPr id="54482" name="Freeform 8"/>
              <p:cNvSpPr>
                <a:spLocks/>
              </p:cNvSpPr>
              <p:nvPr/>
            </p:nvSpPr>
            <p:spPr bwMode="auto">
              <a:xfrm>
                <a:off x="928688" y="5243513"/>
                <a:ext cx="566737" cy="1030288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3" name="Freeform 9"/>
              <p:cNvSpPr>
                <a:spLocks/>
              </p:cNvSpPr>
              <p:nvPr/>
            </p:nvSpPr>
            <p:spPr bwMode="auto">
              <a:xfrm>
                <a:off x="928690" y="5243516"/>
                <a:ext cx="566736" cy="1030287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4" name="Freeform 10"/>
              <p:cNvSpPr>
                <a:spLocks/>
              </p:cNvSpPr>
              <p:nvPr/>
            </p:nvSpPr>
            <p:spPr bwMode="auto">
              <a:xfrm>
                <a:off x="1101725" y="5000627"/>
                <a:ext cx="225424" cy="236539"/>
              </a:xfrm>
              <a:custGeom>
                <a:avLst/>
                <a:gdLst>
                  <a:gd name="T0" fmla="*/ 2147483647 w 2821"/>
                  <a:gd name="T1" fmla="*/ 2147483647 h 2969"/>
                  <a:gd name="T2" fmla="*/ 2147483647 w 2821"/>
                  <a:gd name="T3" fmla="*/ 2147483647 h 2969"/>
                  <a:gd name="T4" fmla="*/ 2147483647 w 2821"/>
                  <a:gd name="T5" fmla="*/ 2147483647 h 2969"/>
                  <a:gd name="T6" fmla="*/ 2147483647 w 2821"/>
                  <a:gd name="T7" fmla="*/ 2147483647 h 2969"/>
                  <a:gd name="T8" fmla="*/ 2147483647 w 2821"/>
                  <a:gd name="T9" fmla="*/ 2147483647 h 2969"/>
                  <a:gd name="T10" fmla="*/ 2147483647 w 2821"/>
                  <a:gd name="T11" fmla="*/ 2147483647 h 2969"/>
                  <a:gd name="T12" fmla="*/ 2147483647 w 2821"/>
                  <a:gd name="T13" fmla="*/ 2147483647 h 2969"/>
                  <a:gd name="T14" fmla="*/ 2147483647 w 2821"/>
                  <a:gd name="T15" fmla="*/ 2147483647 h 2969"/>
                  <a:gd name="T16" fmla="*/ 2147483647 w 2821"/>
                  <a:gd name="T17" fmla="*/ 2147483647 h 2969"/>
                  <a:gd name="T18" fmla="*/ 2147483647 w 2821"/>
                  <a:gd name="T19" fmla="*/ 2147483647 h 2969"/>
                  <a:gd name="T20" fmla="*/ 2147483647 w 2821"/>
                  <a:gd name="T21" fmla="*/ 2147483647 h 2969"/>
                  <a:gd name="T22" fmla="*/ 2147483647 w 2821"/>
                  <a:gd name="T23" fmla="*/ 2147483647 h 2969"/>
                  <a:gd name="T24" fmla="*/ 2147483647 w 2821"/>
                  <a:gd name="T25" fmla="*/ 2147483647 h 2969"/>
                  <a:gd name="T26" fmla="*/ 2147483647 w 2821"/>
                  <a:gd name="T27" fmla="*/ 2147483647 h 2969"/>
                  <a:gd name="T28" fmla="*/ 2147483647 w 2821"/>
                  <a:gd name="T29" fmla="*/ 2147483647 h 2969"/>
                  <a:gd name="T30" fmla="*/ 2147483647 w 2821"/>
                  <a:gd name="T31" fmla="*/ 2147483647 h 2969"/>
                  <a:gd name="T32" fmla="*/ 2147483647 w 2821"/>
                  <a:gd name="T33" fmla="*/ 2147483647 h 2969"/>
                  <a:gd name="T34" fmla="*/ 2147483647 w 2821"/>
                  <a:gd name="T35" fmla="*/ 2147483647 h 2969"/>
                  <a:gd name="T36" fmla="*/ 2147483647 w 2821"/>
                  <a:gd name="T37" fmla="*/ 2147483647 h 2969"/>
                  <a:gd name="T38" fmla="*/ 2147483647 w 2821"/>
                  <a:gd name="T39" fmla="*/ 2147483647 h 2969"/>
                  <a:gd name="T40" fmla="*/ 2147483647 w 2821"/>
                  <a:gd name="T41" fmla="*/ 2147483647 h 2969"/>
                  <a:gd name="T42" fmla="*/ 2147483647 w 2821"/>
                  <a:gd name="T43" fmla="*/ 2147483647 h 2969"/>
                  <a:gd name="T44" fmla="*/ 2147483647 w 2821"/>
                  <a:gd name="T45" fmla="*/ 2147483647 h 2969"/>
                  <a:gd name="T46" fmla="*/ 2147483647 w 2821"/>
                  <a:gd name="T47" fmla="*/ 2147483647 h 2969"/>
                  <a:gd name="T48" fmla="*/ 2147483647 w 2821"/>
                  <a:gd name="T49" fmla="*/ 2147483647 h 2969"/>
                  <a:gd name="T50" fmla="*/ 2147483647 w 2821"/>
                  <a:gd name="T51" fmla="*/ 2147483647 h 2969"/>
                  <a:gd name="T52" fmla="*/ 2147483647 w 2821"/>
                  <a:gd name="T53" fmla="*/ 2147483647 h 2969"/>
                  <a:gd name="T54" fmla="*/ 2147483647 w 2821"/>
                  <a:gd name="T55" fmla="*/ 2147483647 h 2969"/>
                  <a:gd name="T56" fmla="*/ 2147483647 w 2821"/>
                  <a:gd name="T57" fmla="*/ 2147483647 h 2969"/>
                  <a:gd name="T58" fmla="*/ 2147483647 w 2821"/>
                  <a:gd name="T59" fmla="*/ 2147483647 h 2969"/>
                  <a:gd name="T60" fmla="*/ 2147483647 w 2821"/>
                  <a:gd name="T61" fmla="*/ 2147483647 h 2969"/>
                  <a:gd name="T62" fmla="*/ 2147483647 w 2821"/>
                  <a:gd name="T63" fmla="*/ 2147483647 h 2969"/>
                  <a:gd name="T64" fmla="*/ 2147483647 w 2821"/>
                  <a:gd name="T65" fmla="*/ 2147483647 h 2969"/>
                  <a:gd name="T66" fmla="*/ 2147483647 w 2821"/>
                  <a:gd name="T67" fmla="*/ 2147483647 h 2969"/>
                  <a:gd name="T68" fmla="*/ 2147483647 w 2821"/>
                  <a:gd name="T69" fmla="*/ 2147483647 h 2969"/>
                  <a:gd name="T70" fmla="*/ 2147483647 w 2821"/>
                  <a:gd name="T71" fmla="*/ 2147483647 h 2969"/>
                  <a:gd name="T72" fmla="*/ 2147483647 w 2821"/>
                  <a:gd name="T73" fmla="*/ 2147483647 h 2969"/>
                  <a:gd name="T74" fmla="*/ 2147483647 w 2821"/>
                  <a:gd name="T75" fmla="*/ 2147483647 h 2969"/>
                  <a:gd name="T76" fmla="*/ 2147483647 w 2821"/>
                  <a:gd name="T77" fmla="*/ 2147483647 h 2969"/>
                  <a:gd name="T78" fmla="*/ 2147483647 w 2821"/>
                  <a:gd name="T79" fmla="*/ 2147483647 h 2969"/>
                  <a:gd name="T80" fmla="*/ 2147483647 w 2821"/>
                  <a:gd name="T81" fmla="*/ 2147483647 h 2969"/>
                  <a:gd name="T82" fmla="*/ 2147483647 w 2821"/>
                  <a:gd name="T83" fmla="*/ 2147483647 h 2969"/>
                  <a:gd name="T84" fmla="*/ 2147483647 w 2821"/>
                  <a:gd name="T85" fmla="*/ 0 h 29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21"/>
                  <a:gd name="T130" fmla="*/ 0 h 2969"/>
                  <a:gd name="T131" fmla="*/ 2821 w 2821"/>
                  <a:gd name="T132" fmla="*/ 2969 h 29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21" h="2969">
                    <a:moveTo>
                      <a:pt x="1411" y="0"/>
                    </a:moveTo>
                    <a:lnTo>
                      <a:pt x="1483" y="2"/>
                    </a:lnTo>
                    <a:lnTo>
                      <a:pt x="1555" y="8"/>
                    </a:lnTo>
                    <a:lnTo>
                      <a:pt x="1625" y="17"/>
                    </a:lnTo>
                    <a:lnTo>
                      <a:pt x="1695" y="30"/>
                    </a:lnTo>
                    <a:lnTo>
                      <a:pt x="1763" y="47"/>
                    </a:lnTo>
                    <a:lnTo>
                      <a:pt x="1830" y="67"/>
                    </a:lnTo>
                    <a:lnTo>
                      <a:pt x="1895" y="90"/>
                    </a:lnTo>
                    <a:lnTo>
                      <a:pt x="1959" y="117"/>
                    </a:lnTo>
                    <a:lnTo>
                      <a:pt x="2022" y="146"/>
                    </a:lnTo>
                    <a:lnTo>
                      <a:pt x="2083" y="179"/>
                    </a:lnTo>
                    <a:lnTo>
                      <a:pt x="2142" y="216"/>
                    </a:lnTo>
                    <a:lnTo>
                      <a:pt x="2199" y="254"/>
                    </a:lnTo>
                    <a:lnTo>
                      <a:pt x="2254" y="296"/>
                    </a:lnTo>
                    <a:lnTo>
                      <a:pt x="2307" y="339"/>
                    </a:lnTo>
                    <a:lnTo>
                      <a:pt x="2359" y="386"/>
                    </a:lnTo>
                    <a:lnTo>
                      <a:pt x="2408" y="435"/>
                    </a:lnTo>
                    <a:lnTo>
                      <a:pt x="2454" y="487"/>
                    </a:lnTo>
                    <a:lnTo>
                      <a:pt x="2499" y="540"/>
                    </a:lnTo>
                    <a:lnTo>
                      <a:pt x="2540" y="597"/>
                    </a:lnTo>
                    <a:lnTo>
                      <a:pt x="2579" y="655"/>
                    </a:lnTo>
                    <a:lnTo>
                      <a:pt x="2616" y="715"/>
                    </a:lnTo>
                    <a:lnTo>
                      <a:pt x="2651" y="777"/>
                    </a:lnTo>
                    <a:lnTo>
                      <a:pt x="2682" y="841"/>
                    </a:lnTo>
                    <a:lnTo>
                      <a:pt x="2710" y="907"/>
                    </a:lnTo>
                    <a:lnTo>
                      <a:pt x="2735" y="974"/>
                    </a:lnTo>
                    <a:lnTo>
                      <a:pt x="2757" y="1044"/>
                    </a:lnTo>
                    <a:lnTo>
                      <a:pt x="2776" y="1114"/>
                    </a:lnTo>
                    <a:lnTo>
                      <a:pt x="2792" y="1186"/>
                    </a:lnTo>
                    <a:lnTo>
                      <a:pt x="2804" y="1259"/>
                    </a:lnTo>
                    <a:lnTo>
                      <a:pt x="2813" y="1333"/>
                    </a:lnTo>
                    <a:lnTo>
                      <a:pt x="2819" y="1409"/>
                    </a:lnTo>
                    <a:lnTo>
                      <a:pt x="2821" y="1485"/>
                    </a:lnTo>
                    <a:lnTo>
                      <a:pt x="2819" y="1561"/>
                    </a:lnTo>
                    <a:lnTo>
                      <a:pt x="2813" y="1637"/>
                    </a:lnTo>
                    <a:lnTo>
                      <a:pt x="2804" y="1711"/>
                    </a:lnTo>
                    <a:lnTo>
                      <a:pt x="2792" y="1784"/>
                    </a:lnTo>
                    <a:lnTo>
                      <a:pt x="2776" y="1856"/>
                    </a:lnTo>
                    <a:lnTo>
                      <a:pt x="2757" y="1926"/>
                    </a:lnTo>
                    <a:lnTo>
                      <a:pt x="2735" y="1995"/>
                    </a:lnTo>
                    <a:lnTo>
                      <a:pt x="2710" y="2063"/>
                    </a:lnTo>
                    <a:lnTo>
                      <a:pt x="2682" y="2128"/>
                    </a:lnTo>
                    <a:lnTo>
                      <a:pt x="2651" y="2192"/>
                    </a:lnTo>
                    <a:lnTo>
                      <a:pt x="2616" y="2255"/>
                    </a:lnTo>
                    <a:lnTo>
                      <a:pt x="2579" y="2315"/>
                    </a:lnTo>
                    <a:lnTo>
                      <a:pt x="2540" y="2373"/>
                    </a:lnTo>
                    <a:lnTo>
                      <a:pt x="2499" y="2429"/>
                    </a:lnTo>
                    <a:lnTo>
                      <a:pt x="2454" y="2483"/>
                    </a:lnTo>
                    <a:lnTo>
                      <a:pt x="2408" y="2534"/>
                    </a:lnTo>
                    <a:lnTo>
                      <a:pt x="2359" y="2583"/>
                    </a:lnTo>
                    <a:lnTo>
                      <a:pt x="2307" y="2631"/>
                    </a:lnTo>
                    <a:lnTo>
                      <a:pt x="2254" y="2675"/>
                    </a:lnTo>
                    <a:lnTo>
                      <a:pt x="2199" y="2716"/>
                    </a:lnTo>
                    <a:lnTo>
                      <a:pt x="2142" y="2755"/>
                    </a:lnTo>
                    <a:lnTo>
                      <a:pt x="2083" y="2790"/>
                    </a:lnTo>
                    <a:lnTo>
                      <a:pt x="2022" y="2823"/>
                    </a:lnTo>
                    <a:lnTo>
                      <a:pt x="1959" y="2853"/>
                    </a:lnTo>
                    <a:lnTo>
                      <a:pt x="1895" y="2879"/>
                    </a:lnTo>
                    <a:lnTo>
                      <a:pt x="1830" y="2902"/>
                    </a:lnTo>
                    <a:lnTo>
                      <a:pt x="1763" y="2922"/>
                    </a:lnTo>
                    <a:lnTo>
                      <a:pt x="1695" y="2939"/>
                    </a:lnTo>
                    <a:lnTo>
                      <a:pt x="1625" y="2952"/>
                    </a:lnTo>
                    <a:lnTo>
                      <a:pt x="1555" y="2961"/>
                    </a:lnTo>
                    <a:lnTo>
                      <a:pt x="1483" y="2967"/>
                    </a:lnTo>
                    <a:lnTo>
                      <a:pt x="1411" y="2969"/>
                    </a:lnTo>
                    <a:lnTo>
                      <a:pt x="1338" y="2967"/>
                    </a:lnTo>
                    <a:lnTo>
                      <a:pt x="1266" y="2961"/>
                    </a:lnTo>
                    <a:lnTo>
                      <a:pt x="1196" y="2952"/>
                    </a:lnTo>
                    <a:lnTo>
                      <a:pt x="1127" y="2939"/>
                    </a:lnTo>
                    <a:lnTo>
                      <a:pt x="1058" y="2922"/>
                    </a:lnTo>
                    <a:lnTo>
                      <a:pt x="991" y="2902"/>
                    </a:lnTo>
                    <a:lnTo>
                      <a:pt x="926" y="2879"/>
                    </a:lnTo>
                    <a:lnTo>
                      <a:pt x="862" y="2853"/>
                    </a:lnTo>
                    <a:lnTo>
                      <a:pt x="800" y="2823"/>
                    </a:lnTo>
                    <a:lnTo>
                      <a:pt x="738" y="2790"/>
                    </a:lnTo>
                    <a:lnTo>
                      <a:pt x="679" y="2755"/>
                    </a:lnTo>
                    <a:lnTo>
                      <a:pt x="622" y="2716"/>
                    </a:lnTo>
                    <a:lnTo>
                      <a:pt x="567" y="2675"/>
                    </a:lnTo>
                    <a:lnTo>
                      <a:pt x="514" y="2631"/>
                    </a:lnTo>
                    <a:lnTo>
                      <a:pt x="463" y="2583"/>
                    </a:lnTo>
                    <a:lnTo>
                      <a:pt x="413" y="2534"/>
                    </a:lnTo>
                    <a:lnTo>
                      <a:pt x="367" y="2483"/>
                    </a:lnTo>
                    <a:lnTo>
                      <a:pt x="322" y="2429"/>
                    </a:lnTo>
                    <a:lnTo>
                      <a:pt x="281" y="2373"/>
                    </a:lnTo>
                    <a:lnTo>
                      <a:pt x="242" y="2315"/>
                    </a:lnTo>
                    <a:lnTo>
                      <a:pt x="205" y="2255"/>
                    </a:lnTo>
                    <a:lnTo>
                      <a:pt x="171" y="2192"/>
                    </a:lnTo>
                    <a:lnTo>
                      <a:pt x="140" y="2128"/>
                    </a:lnTo>
                    <a:lnTo>
                      <a:pt x="111" y="2063"/>
                    </a:lnTo>
                    <a:lnTo>
                      <a:pt x="86" y="1995"/>
                    </a:lnTo>
                    <a:lnTo>
                      <a:pt x="64" y="1926"/>
                    </a:lnTo>
                    <a:lnTo>
                      <a:pt x="45" y="1856"/>
                    </a:lnTo>
                    <a:lnTo>
                      <a:pt x="29" y="1784"/>
                    </a:lnTo>
                    <a:lnTo>
                      <a:pt x="17" y="1711"/>
                    </a:lnTo>
                    <a:lnTo>
                      <a:pt x="8" y="1637"/>
                    </a:lnTo>
                    <a:lnTo>
                      <a:pt x="2" y="1561"/>
                    </a:lnTo>
                    <a:lnTo>
                      <a:pt x="0" y="1485"/>
                    </a:lnTo>
                    <a:lnTo>
                      <a:pt x="2" y="1409"/>
                    </a:lnTo>
                    <a:lnTo>
                      <a:pt x="8" y="1333"/>
                    </a:lnTo>
                    <a:lnTo>
                      <a:pt x="17" y="1259"/>
                    </a:lnTo>
                    <a:lnTo>
                      <a:pt x="29" y="1186"/>
                    </a:lnTo>
                    <a:lnTo>
                      <a:pt x="45" y="1114"/>
                    </a:lnTo>
                    <a:lnTo>
                      <a:pt x="64" y="1044"/>
                    </a:lnTo>
                    <a:lnTo>
                      <a:pt x="86" y="974"/>
                    </a:lnTo>
                    <a:lnTo>
                      <a:pt x="111" y="907"/>
                    </a:lnTo>
                    <a:lnTo>
                      <a:pt x="140" y="841"/>
                    </a:lnTo>
                    <a:lnTo>
                      <a:pt x="171" y="777"/>
                    </a:lnTo>
                    <a:lnTo>
                      <a:pt x="205" y="715"/>
                    </a:lnTo>
                    <a:lnTo>
                      <a:pt x="242" y="655"/>
                    </a:lnTo>
                    <a:lnTo>
                      <a:pt x="281" y="597"/>
                    </a:lnTo>
                    <a:lnTo>
                      <a:pt x="322" y="540"/>
                    </a:lnTo>
                    <a:lnTo>
                      <a:pt x="367" y="487"/>
                    </a:lnTo>
                    <a:lnTo>
                      <a:pt x="413" y="435"/>
                    </a:lnTo>
                    <a:lnTo>
                      <a:pt x="463" y="386"/>
                    </a:lnTo>
                    <a:lnTo>
                      <a:pt x="514" y="339"/>
                    </a:lnTo>
                    <a:lnTo>
                      <a:pt x="567" y="296"/>
                    </a:lnTo>
                    <a:lnTo>
                      <a:pt x="622" y="254"/>
                    </a:lnTo>
                    <a:lnTo>
                      <a:pt x="679" y="216"/>
                    </a:lnTo>
                    <a:lnTo>
                      <a:pt x="738" y="179"/>
                    </a:lnTo>
                    <a:lnTo>
                      <a:pt x="800" y="146"/>
                    </a:lnTo>
                    <a:lnTo>
                      <a:pt x="862" y="117"/>
                    </a:lnTo>
                    <a:lnTo>
                      <a:pt x="926" y="90"/>
                    </a:lnTo>
                    <a:lnTo>
                      <a:pt x="991" y="67"/>
                    </a:lnTo>
                    <a:lnTo>
                      <a:pt x="1058" y="47"/>
                    </a:lnTo>
                    <a:lnTo>
                      <a:pt x="1127" y="30"/>
                    </a:lnTo>
                    <a:lnTo>
                      <a:pt x="1196" y="17"/>
                    </a:lnTo>
                    <a:lnTo>
                      <a:pt x="1266" y="8"/>
                    </a:lnTo>
                    <a:lnTo>
                      <a:pt x="1338" y="2"/>
                    </a:lnTo>
                    <a:lnTo>
                      <a:pt x="1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1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5" name="Freeform 11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6" name="Freeform 12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7" name="Freeform 13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solidFill>
                <a:srgbClr val="AA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8" name="Freeform 14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89" name="Freeform 15"/>
              <p:cNvSpPr>
                <a:spLocks/>
              </p:cNvSpPr>
              <p:nvPr/>
            </p:nvSpPr>
            <p:spPr bwMode="auto">
              <a:xfrm>
                <a:off x="1311275" y="5405438"/>
                <a:ext cx="169862" cy="114300"/>
              </a:xfrm>
              <a:custGeom>
                <a:avLst/>
                <a:gdLst>
                  <a:gd name="T0" fmla="*/ 2147483647 w 2144"/>
                  <a:gd name="T1" fmla="*/ 2147483647 h 1454"/>
                  <a:gd name="T2" fmla="*/ 2147483647 w 2144"/>
                  <a:gd name="T3" fmla="*/ 2147483647 h 1454"/>
                  <a:gd name="T4" fmla="*/ 2147483647 w 2144"/>
                  <a:gd name="T5" fmla="*/ 2147483647 h 1454"/>
                  <a:gd name="T6" fmla="*/ 2147483647 w 2144"/>
                  <a:gd name="T7" fmla="*/ 2147483647 h 1454"/>
                  <a:gd name="T8" fmla="*/ 2147483647 w 2144"/>
                  <a:gd name="T9" fmla="*/ 2147483647 h 1454"/>
                  <a:gd name="T10" fmla="*/ 2147483647 w 2144"/>
                  <a:gd name="T11" fmla="*/ 2147483647 h 1454"/>
                  <a:gd name="T12" fmla="*/ 2147483647 w 2144"/>
                  <a:gd name="T13" fmla="*/ 2147483647 h 1454"/>
                  <a:gd name="T14" fmla="*/ 2147483647 w 2144"/>
                  <a:gd name="T15" fmla="*/ 2147483647 h 1454"/>
                  <a:gd name="T16" fmla="*/ 2147483647 w 2144"/>
                  <a:gd name="T17" fmla="*/ 2147483647 h 1454"/>
                  <a:gd name="T18" fmla="*/ 2147483647 w 2144"/>
                  <a:gd name="T19" fmla="*/ 2147483647 h 1454"/>
                  <a:gd name="T20" fmla="*/ 2147483647 w 2144"/>
                  <a:gd name="T21" fmla="*/ 2147483647 h 1454"/>
                  <a:gd name="T22" fmla="*/ 2147483647 w 2144"/>
                  <a:gd name="T23" fmla="*/ 2147483647 h 1454"/>
                  <a:gd name="T24" fmla="*/ 2147483647 w 2144"/>
                  <a:gd name="T25" fmla="*/ 2147483647 h 1454"/>
                  <a:gd name="T26" fmla="*/ 2147483647 w 2144"/>
                  <a:gd name="T27" fmla="*/ 2147483647 h 1454"/>
                  <a:gd name="T28" fmla="*/ 2147483647 w 2144"/>
                  <a:gd name="T29" fmla="*/ 2147483647 h 1454"/>
                  <a:gd name="T30" fmla="*/ 2147483647 w 2144"/>
                  <a:gd name="T31" fmla="*/ 2147483647 h 1454"/>
                  <a:gd name="T32" fmla="*/ 2147483647 w 2144"/>
                  <a:gd name="T33" fmla="*/ 2147483647 h 1454"/>
                  <a:gd name="T34" fmla="*/ 2147483647 w 2144"/>
                  <a:gd name="T35" fmla="*/ 2147483647 h 1454"/>
                  <a:gd name="T36" fmla="*/ 2147483647 w 2144"/>
                  <a:gd name="T37" fmla="*/ 2147483647 h 1454"/>
                  <a:gd name="T38" fmla="*/ 2147483647 w 2144"/>
                  <a:gd name="T39" fmla="*/ 2147483647 h 1454"/>
                  <a:gd name="T40" fmla="*/ 2147483647 w 2144"/>
                  <a:gd name="T41" fmla="*/ 2147483647 h 1454"/>
                  <a:gd name="T42" fmla="*/ 2147483647 w 2144"/>
                  <a:gd name="T43" fmla="*/ 2147483647 h 1454"/>
                  <a:gd name="T44" fmla="*/ 2147483647 w 2144"/>
                  <a:gd name="T45" fmla="*/ 2147483647 h 1454"/>
                  <a:gd name="T46" fmla="*/ 2147483647 w 2144"/>
                  <a:gd name="T47" fmla="*/ 2147483647 h 1454"/>
                  <a:gd name="T48" fmla="*/ 2147483647 w 2144"/>
                  <a:gd name="T49" fmla="*/ 2147483647 h 1454"/>
                  <a:gd name="T50" fmla="*/ 2147483647 w 2144"/>
                  <a:gd name="T51" fmla="*/ 2147483647 h 1454"/>
                  <a:gd name="T52" fmla="*/ 2147483647 w 2144"/>
                  <a:gd name="T53" fmla="*/ 2147483647 h 1454"/>
                  <a:gd name="T54" fmla="*/ 2147483647 w 2144"/>
                  <a:gd name="T55" fmla="*/ 2147483647 h 1454"/>
                  <a:gd name="T56" fmla="*/ 2147483647 w 2144"/>
                  <a:gd name="T57" fmla="*/ 2147483647 h 1454"/>
                  <a:gd name="T58" fmla="*/ 2147483647 w 2144"/>
                  <a:gd name="T59" fmla="*/ 2147483647 h 1454"/>
                  <a:gd name="T60" fmla="*/ 2147483647 w 2144"/>
                  <a:gd name="T61" fmla="*/ 2147483647 h 1454"/>
                  <a:gd name="T62" fmla="*/ 2147483647 w 2144"/>
                  <a:gd name="T63" fmla="*/ 2147483647 h 1454"/>
                  <a:gd name="T64" fmla="*/ 2147483647 w 2144"/>
                  <a:gd name="T65" fmla="*/ 2147483647 h 1454"/>
                  <a:gd name="T66" fmla="*/ 2147483647 w 2144"/>
                  <a:gd name="T67" fmla="*/ 2147483647 h 1454"/>
                  <a:gd name="T68" fmla="*/ 2147483647 w 2144"/>
                  <a:gd name="T69" fmla="*/ 2147483647 h 1454"/>
                  <a:gd name="T70" fmla="*/ 2147483647 w 2144"/>
                  <a:gd name="T71" fmla="*/ 2147483647 h 1454"/>
                  <a:gd name="T72" fmla="*/ 2147483647 w 2144"/>
                  <a:gd name="T73" fmla="*/ 2147483647 h 1454"/>
                  <a:gd name="T74" fmla="*/ 2147483647 w 2144"/>
                  <a:gd name="T75" fmla="*/ 2147483647 h 1454"/>
                  <a:gd name="T76" fmla="*/ 2147483647 w 2144"/>
                  <a:gd name="T77" fmla="*/ 2147483647 h 1454"/>
                  <a:gd name="T78" fmla="*/ 2147483647 w 2144"/>
                  <a:gd name="T79" fmla="*/ 2147483647 h 1454"/>
                  <a:gd name="T80" fmla="*/ 2147483647 w 2144"/>
                  <a:gd name="T81" fmla="*/ 2147483647 h 1454"/>
                  <a:gd name="T82" fmla="*/ 2147483647 w 2144"/>
                  <a:gd name="T83" fmla="*/ 2147483647 h 1454"/>
                  <a:gd name="T84" fmla="*/ 2147483647 w 2144"/>
                  <a:gd name="T85" fmla="*/ 2147483647 h 1454"/>
                  <a:gd name="T86" fmla="*/ 2147483647 w 2144"/>
                  <a:gd name="T87" fmla="*/ 2147483647 h 1454"/>
                  <a:gd name="T88" fmla="*/ 2147483647 w 2144"/>
                  <a:gd name="T89" fmla="*/ 2147483647 h 1454"/>
                  <a:gd name="T90" fmla="*/ 2147483647 w 2144"/>
                  <a:gd name="T91" fmla="*/ 2147483647 h 1454"/>
                  <a:gd name="T92" fmla="*/ 2147483647 w 2144"/>
                  <a:gd name="T93" fmla="*/ 0 h 1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44"/>
                  <a:gd name="T142" fmla="*/ 0 h 1454"/>
                  <a:gd name="T143" fmla="*/ 2144 w 2144"/>
                  <a:gd name="T144" fmla="*/ 1454 h 1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44" h="1454">
                    <a:moveTo>
                      <a:pt x="931" y="115"/>
                    </a:moveTo>
                    <a:lnTo>
                      <a:pt x="255" y="517"/>
                    </a:lnTo>
                    <a:lnTo>
                      <a:pt x="133" y="624"/>
                    </a:lnTo>
                    <a:lnTo>
                      <a:pt x="125" y="635"/>
                    </a:lnTo>
                    <a:lnTo>
                      <a:pt x="106" y="666"/>
                    </a:lnTo>
                    <a:lnTo>
                      <a:pt x="94" y="689"/>
                    </a:lnTo>
                    <a:lnTo>
                      <a:pt x="80" y="715"/>
                    </a:lnTo>
                    <a:lnTo>
                      <a:pt x="66" y="746"/>
                    </a:lnTo>
                    <a:lnTo>
                      <a:pt x="52" y="779"/>
                    </a:lnTo>
                    <a:lnTo>
                      <a:pt x="38" y="815"/>
                    </a:lnTo>
                    <a:lnTo>
                      <a:pt x="26" y="853"/>
                    </a:lnTo>
                    <a:lnTo>
                      <a:pt x="20" y="872"/>
                    </a:lnTo>
                    <a:lnTo>
                      <a:pt x="15" y="892"/>
                    </a:lnTo>
                    <a:lnTo>
                      <a:pt x="11" y="913"/>
                    </a:lnTo>
                    <a:lnTo>
                      <a:pt x="7" y="934"/>
                    </a:lnTo>
                    <a:lnTo>
                      <a:pt x="4" y="955"/>
                    </a:lnTo>
                    <a:lnTo>
                      <a:pt x="2" y="976"/>
                    </a:lnTo>
                    <a:lnTo>
                      <a:pt x="1" y="998"/>
                    </a:lnTo>
                    <a:lnTo>
                      <a:pt x="0" y="1019"/>
                    </a:lnTo>
                    <a:lnTo>
                      <a:pt x="1" y="1041"/>
                    </a:lnTo>
                    <a:lnTo>
                      <a:pt x="3" y="1063"/>
                    </a:lnTo>
                    <a:lnTo>
                      <a:pt x="6" y="1085"/>
                    </a:lnTo>
                    <a:lnTo>
                      <a:pt x="10" y="1106"/>
                    </a:lnTo>
                    <a:lnTo>
                      <a:pt x="15" y="1129"/>
                    </a:lnTo>
                    <a:lnTo>
                      <a:pt x="23" y="1152"/>
                    </a:lnTo>
                    <a:lnTo>
                      <a:pt x="31" y="1175"/>
                    </a:lnTo>
                    <a:lnTo>
                      <a:pt x="42" y="1199"/>
                    </a:lnTo>
                    <a:lnTo>
                      <a:pt x="54" y="1223"/>
                    </a:lnTo>
                    <a:lnTo>
                      <a:pt x="68" y="1247"/>
                    </a:lnTo>
                    <a:lnTo>
                      <a:pt x="83" y="1271"/>
                    </a:lnTo>
                    <a:lnTo>
                      <a:pt x="100" y="1295"/>
                    </a:lnTo>
                    <a:lnTo>
                      <a:pt x="118" y="1318"/>
                    </a:lnTo>
                    <a:lnTo>
                      <a:pt x="138" y="1340"/>
                    </a:lnTo>
                    <a:lnTo>
                      <a:pt x="159" y="1361"/>
                    </a:lnTo>
                    <a:lnTo>
                      <a:pt x="182" y="1381"/>
                    </a:lnTo>
                    <a:lnTo>
                      <a:pt x="194" y="1391"/>
                    </a:lnTo>
                    <a:lnTo>
                      <a:pt x="206" y="1400"/>
                    </a:lnTo>
                    <a:lnTo>
                      <a:pt x="219" y="1409"/>
                    </a:lnTo>
                    <a:lnTo>
                      <a:pt x="232" y="1417"/>
                    </a:lnTo>
                    <a:lnTo>
                      <a:pt x="246" y="1425"/>
                    </a:lnTo>
                    <a:lnTo>
                      <a:pt x="259" y="1432"/>
                    </a:lnTo>
                    <a:lnTo>
                      <a:pt x="273" y="1439"/>
                    </a:lnTo>
                    <a:lnTo>
                      <a:pt x="288" y="1445"/>
                    </a:lnTo>
                    <a:lnTo>
                      <a:pt x="299" y="1449"/>
                    </a:lnTo>
                    <a:lnTo>
                      <a:pt x="312" y="1451"/>
                    </a:lnTo>
                    <a:lnTo>
                      <a:pt x="324" y="1453"/>
                    </a:lnTo>
                    <a:lnTo>
                      <a:pt x="336" y="1454"/>
                    </a:lnTo>
                    <a:lnTo>
                      <a:pt x="361" y="1454"/>
                    </a:lnTo>
                    <a:lnTo>
                      <a:pt x="387" y="1452"/>
                    </a:lnTo>
                    <a:lnTo>
                      <a:pt x="413" y="1448"/>
                    </a:lnTo>
                    <a:lnTo>
                      <a:pt x="441" y="1445"/>
                    </a:lnTo>
                    <a:lnTo>
                      <a:pt x="455" y="1444"/>
                    </a:lnTo>
                    <a:lnTo>
                      <a:pt x="469" y="1444"/>
                    </a:lnTo>
                    <a:lnTo>
                      <a:pt x="483" y="1444"/>
                    </a:lnTo>
                    <a:lnTo>
                      <a:pt x="498" y="1445"/>
                    </a:lnTo>
                    <a:lnTo>
                      <a:pt x="528" y="1446"/>
                    </a:lnTo>
                    <a:lnTo>
                      <a:pt x="560" y="1445"/>
                    </a:lnTo>
                    <a:lnTo>
                      <a:pt x="592" y="1443"/>
                    </a:lnTo>
                    <a:lnTo>
                      <a:pt x="626" y="1438"/>
                    </a:lnTo>
                    <a:lnTo>
                      <a:pt x="659" y="1432"/>
                    </a:lnTo>
                    <a:lnTo>
                      <a:pt x="694" y="1425"/>
                    </a:lnTo>
                    <a:lnTo>
                      <a:pt x="729" y="1416"/>
                    </a:lnTo>
                    <a:lnTo>
                      <a:pt x="764" y="1405"/>
                    </a:lnTo>
                    <a:lnTo>
                      <a:pt x="800" y="1393"/>
                    </a:lnTo>
                    <a:lnTo>
                      <a:pt x="836" y="1380"/>
                    </a:lnTo>
                    <a:lnTo>
                      <a:pt x="873" y="1365"/>
                    </a:lnTo>
                    <a:lnTo>
                      <a:pt x="910" y="1350"/>
                    </a:lnTo>
                    <a:lnTo>
                      <a:pt x="948" y="1333"/>
                    </a:lnTo>
                    <a:lnTo>
                      <a:pt x="985" y="1315"/>
                    </a:lnTo>
                    <a:lnTo>
                      <a:pt x="1022" y="1296"/>
                    </a:lnTo>
                    <a:lnTo>
                      <a:pt x="1060" y="1277"/>
                    </a:lnTo>
                    <a:lnTo>
                      <a:pt x="1097" y="1257"/>
                    </a:lnTo>
                    <a:lnTo>
                      <a:pt x="1134" y="1236"/>
                    </a:lnTo>
                    <a:lnTo>
                      <a:pt x="1171" y="1214"/>
                    </a:lnTo>
                    <a:lnTo>
                      <a:pt x="1208" y="1192"/>
                    </a:lnTo>
                    <a:lnTo>
                      <a:pt x="1282" y="1147"/>
                    </a:lnTo>
                    <a:lnTo>
                      <a:pt x="1354" y="1100"/>
                    </a:lnTo>
                    <a:lnTo>
                      <a:pt x="1424" y="1053"/>
                    </a:lnTo>
                    <a:lnTo>
                      <a:pt x="1491" y="1006"/>
                    </a:lnTo>
                    <a:lnTo>
                      <a:pt x="1556" y="961"/>
                    </a:lnTo>
                    <a:lnTo>
                      <a:pt x="1617" y="916"/>
                    </a:lnTo>
                    <a:lnTo>
                      <a:pt x="1681" y="868"/>
                    </a:lnTo>
                    <a:lnTo>
                      <a:pt x="1741" y="822"/>
                    </a:lnTo>
                    <a:lnTo>
                      <a:pt x="1797" y="778"/>
                    </a:lnTo>
                    <a:lnTo>
                      <a:pt x="1849" y="737"/>
                    </a:lnTo>
                    <a:lnTo>
                      <a:pt x="1897" y="697"/>
                    </a:lnTo>
                    <a:lnTo>
                      <a:pt x="1940" y="661"/>
                    </a:lnTo>
                    <a:lnTo>
                      <a:pt x="1979" y="627"/>
                    </a:lnTo>
                    <a:lnTo>
                      <a:pt x="2014" y="597"/>
                    </a:lnTo>
                    <a:lnTo>
                      <a:pt x="2071" y="545"/>
                    </a:lnTo>
                    <a:lnTo>
                      <a:pt x="2112" y="507"/>
                    </a:lnTo>
                    <a:lnTo>
                      <a:pt x="2136" y="483"/>
                    </a:lnTo>
                    <a:lnTo>
                      <a:pt x="2144" y="475"/>
                    </a:lnTo>
                    <a:lnTo>
                      <a:pt x="1554" y="0"/>
                    </a:lnTo>
                    <a:lnTo>
                      <a:pt x="93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0" name="Freeform 16"/>
              <p:cNvSpPr>
                <a:spLocks/>
              </p:cNvSpPr>
              <p:nvPr/>
            </p:nvSpPr>
            <p:spPr bwMode="auto">
              <a:xfrm>
                <a:off x="1311275" y="5416550"/>
                <a:ext cx="171450" cy="104775"/>
              </a:xfrm>
              <a:custGeom>
                <a:avLst/>
                <a:gdLst>
                  <a:gd name="T0" fmla="*/ 2147483647 w 2152"/>
                  <a:gd name="T1" fmla="*/ 2147483647 h 1326"/>
                  <a:gd name="T2" fmla="*/ 2147483647 w 2152"/>
                  <a:gd name="T3" fmla="*/ 2147483647 h 1326"/>
                  <a:gd name="T4" fmla="*/ 2147483647 w 2152"/>
                  <a:gd name="T5" fmla="*/ 2147483647 h 1326"/>
                  <a:gd name="T6" fmla="*/ 2147483647 w 2152"/>
                  <a:gd name="T7" fmla="*/ 2147483647 h 1326"/>
                  <a:gd name="T8" fmla="*/ 2147483647 w 2152"/>
                  <a:gd name="T9" fmla="*/ 2147483647 h 1326"/>
                  <a:gd name="T10" fmla="*/ 2147483647 w 2152"/>
                  <a:gd name="T11" fmla="*/ 2147483647 h 1326"/>
                  <a:gd name="T12" fmla="*/ 2147483647 w 2152"/>
                  <a:gd name="T13" fmla="*/ 2147483647 h 1326"/>
                  <a:gd name="T14" fmla="*/ 2147483647 w 2152"/>
                  <a:gd name="T15" fmla="*/ 2147483647 h 1326"/>
                  <a:gd name="T16" fmla="*/ 2147483647 w 2152"/>
                  <a:gd name="T17" fmla="*/ 2147483647 h 1326"/>
                  <a:gd name="T18" fmla="*/ 2147483647 w 2152"/>
                  <a:gd name="T19" fmla="*/ 2147483647 h 1326"/>
                  <a:gd name="T20" fmla="*/ 2147483647 w 2152"/>
                  <a:gd name="T21" fmla="*/ 2147483647 h 1326"/>
                  <a:gd name="T22" fmla="*/ 2147483647 w 2152"/>
                  <a:gd name="T23" fmla="*/ 2147483647 h 1326"/>
                  <a:gd name="T24" fmla="*/ 2147483647 w 2152"/>
                  <a:gd name="T25" fmla="*/ 2147483647 h 1326"/>
                  <a:gd name="T26" fmla="*/ 2147483647 w 2152"/>
                  <a:gd name="T27" fmla="*/ 2147483647 h 1326"/>
                  <a:gd name="T28" fmla="*/ 2147483647 w 2152"/>
                  <a:gd name="T29" fmla="*/ 2147483647 h 1326"/>
                  <a:gd name="T30" fmla="*/ 2147483647 w 2152"/>
                  <a:gd name="T31" fmla="*/ 2147483647 h 1326"/>
                  <a:gd name="T32" fmla="*/ 2147483647 w 2152"/>
                  <a:gd name="T33" fmla="*/ 2147483647 h 1326"/>
                  <a:gd name="T34" fmla="*/ 2147483647 w 2152"/>
                  <a:gd name="T35" fmla="*/ 2147483647 h 1326"/>
                  <a:gd name="T36" fmla="*/ 0 w 2152"/>
                  <a:gd name="T37" fmla="*/ 2147483647 h 1326"/>
                  <a:gd name="T38" fmla="*/ 2147483647 w 2152"/>
                  <a:gd name="T39" fmla="*/ 2147483647 h 1326"/>
                  <a:gd name="T40" fmla="*/ 2147483647 w 2152"/>
                  <a:gd name="T41" fmla="*/ 2147483647 h 1326"/>
                  <a:gd name="T42" fmla="*/ 2147483647 w 2152"/>
                  <a:gd name="T43" fmla="*/ 2147483647 h 1326"/>
                  <a:gd name="T44" fmla="*/ 2147483647 w 2152"/>
                  <a:gd name="T45" fmla="*/ 2147483647 h 1326"/>
                  <a:gd name="T46" fmla="*/ 2147483647 w 2152"/>
                  <a:gd name="T47" fmla="*/ 2147483647 h 1326"/>
                  <a:gd name="T48" fmla="*/ 2147483647 w 2152"/>
                  <a:gd name="T49" fmla="*/ 2147483647 h 1326"/>
                  <a:gd name="T50" fmla="*/ 2147483647 w 2152"/>
                  <a:gd name="T51" fmla="*/ 2147483647 h 1326"/>
                  <a:gd name="T52" fmla="*/ 2147483647 w 2152"/>
                  <a:gd name="T53" fmla="*/ 2147483647 h 1326"/>
                  <a:gd name="T54" fmla="*/ 2147483647 w 2152"/>
                  <a:gd name="T55" fmla="*/ 2147483647 h 1326"/>
                  <a:gd name="T56" fmla="*/ 2147483647 w 2152"/>
                  <a:gd name="T57" fmla="*/ 2147483647 h 1326"/>
                  <a:gd name="T58" fmla="*/ 2147483647 w 2152"/>
                  <a:gd name="T59" fmla="*/ 2147483647 h 1326"/>
                  <a:gd name="T60" fmla="*/ 2147483647 w 2152"/>
                  <a:gd name="T61" fmla="*/ 2147483647 h 1326"/>
                  <a:gd name="T62" fmla="*/ 2147483647 w 2152"/>
                  <a:gd name="T63" fmla="*/ 2147483647 h 1326"/>
                  <a:gd name="T64" fmla="*/ 2147483647 w 2152"/>
                  <a:gd name="T65" fmla="*/ 2147483647 h 1326"/>
                  <a:gd name="T66" fmla="*/ 2147483647 w 2152"/>
                  <a:gd name="T67" fmla="*/ 2147483647 h 1326"/>
                  <a:gd name="T68" fmla="*/ 2147483647 w 2152"/>
                  <a:gd name="T69" fmla="*/ 2147483647 h 1326"/>
                  <a:gd name="T70" fmla="*/ 2147483647 w 2152"/>
                  <a:gd name="T71" fmla="*/ 2147483647 h 1326"/>
                  <a:gd name="T72" fmla="*/ 2147483647 w 2152"/>
                  <a:gd name="T73" fmla="*/ 2147483647 h 1326"/>
                  <a:gd name="T74" fmla="*/ 2147483647 w 2152"/>
                  <a:gd name="T75" fmla="*/ 2147483647 h 1326"/>
                  <a:gd name="T76" fmla="*/ 2147483647 w 2152"/>
                  <a:gd name="T77" fmla="*/ 2147483647 h 1326"/>
                  <a:gd name="T78" fmla="*/ 2147483647 w 2152"/>
                  <a:gd name="T79" fmla="*/ 2147483647 h 1326"/>
                  <a:gd name="T80" fmla="*/ 2147483647 w 2152"/>
                  <a:gd name="T81" fmla="*/ 2147483647 h 1326"/>
                  <a:gd name="T82" fmla="*/ 2147483647 w 2152"/>
                  <a:gd name="T83" fmla="*/ 2147483647 h 1326"/>
                  <a:gd name="T84" fmla="*/ 2147483647 w 2152"/>
                  <a:gd name="T85" fmla="*/ 2147483647 h 1326"/>
                  <a:gd name="T86" fmla="*/ 2147483647 w 2152"/>
                  <a:gd name="T87" fmla="*/ 2147483647 h 1326"/>
                  <a:gd name="T88" fmla="*/ 2147483647 w 2152"/>
                  <a:gd name="T89" fmla="*/ 2147483647 h 1326"/>
                  <a:gd name="T90" fmla="*/ 2147483647 w 2152"/>
                  <a:gd name="T91" fmla="*/ 2147483647 h 1326"/>
                  <a:gd name="T92" fmla="*/ 2147483647 w 2152"/>
                  <a:gd name="T93" fmla="*/ 2147483647 h 1326"/>
                  <a:gd name="T94" fmla="*/ 2147483647 w 2152"/>
                  <a:gd name="T95" fmla="*/ 2147483647 h 1326"/>
                  <a:gd name="T96" fmla="*/ 2147483647 w 2152"/>
                  <a:gd name="T97" fmla="*/ 2147483647 h 1326"/>
                  <a:gd name="T98" fmla="*/ 2147483647 w 2152"/>
                  <a:gd name="T99" fmla="*/ 2147483647 h 1326"/>
                  <a:gd name="T100" fmla="*/ 2147483647 w 2152"/>
                  <a:gd name="T101" fmla="*/ 2147483647 h 1326"/>
                  <a:gd name="T102" fmla="*/ 2147483647 w 2152"/>
                  <a:gd name="T103" fmla="*/ 2147483647 h 1326"/>
                  <a:gd name="T104" fmla="*/ 2147483647 w 2152"/>
                  <a:gd name="T105" fmla="*/ 2147483647 h 1326"/>
                  <a:gd name="T106" fmla="*/ 2147483647 w 2152"/>
                  <a:gd name="T107" fmla="*/ 2147483647 h 13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52"/>
                  <a:gd name="T163" fmla="*/ 0 h 1326"/>
                  <a:gd name="T164" fmla="*/ 2152 w 2152"/>
                  <a:gd name="T165" fmla="*/ 1326 h 13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52" h="1326">
                    <a:moveTo>
                      <a:pt x="827" y="0"/>
                    </a:moveTo>
                    <a:lnTo>
                      <a:pt x="790" y="24"/>
                    </a:lnTo>
                    <a:lnTo>
                      <a:pt x="752" y="50"/>
                    </a:lnTo>
                    <a:lnTo>
                      <a:pt x="713" y="77"/>
                    </a:lnTo>
                    <a:lnTo>
                      <a:pt x="672" y="104"/>
                    </a:lnTo>
                    <a:lnTo>
                      <a:pt x="630" y="132"/>
                    </a:lnTo>
                    <a:lnTo>
                      <a:pt x="585" y="161"/>
                    </a:lnTo>
                    <a:lnTo>
                      <a:pt x="539" y="191"/>
                    </a:lnTo>
                    <a:lnTo>
                      <a:pt x="492" y="219"/>
                    </a:lnTo>
                    <a:lnTo>
                      <a:pt x="444" y="248"/>
                    </a:lnTo>
                    <a:lnTo>
                      <a:pt x="394" y="276"/>
                    </a:lnTo>
                    <a:lnTo>
                      <a:pt x="346" y="304"/>
                    </a:lnTo>
                    <a:lnTo>
                      <a:pt x="298" y="333"/>
                    </a:lnTo>
                    <a:lnTo>
                      <a:pt x="275" y="348"/>
                    </a:lnTo>
                    <a:lnTo>
                      <a:pt x="253" y="363"/>
                    </a:lnTo>
                    <a:lnTo>
                      <a:pt x="232" y="378"/>
                    </a:lnTo>
                    <a:lnTo>
                      <a:pt x="213" y="393"/>
                    </a:lnTo>
                    <a:lnTo>
                      <a:pt x="194" y="409"/>
                    </a:lnTo>
                    <a:lnTo>
                      <a:pt x="177" y="424"/>
                    </a:lnTo>
                    <a:lnTo>
                      <a:pt x="162" y="440"/>
                    </a:lnTo>
                    <a:lnTo>
                      <a:pt x="148" y="457"/>
                    </a:lnTo>
                    <a:lnTo>
                      <a:pt x="132" y="478"/>
                    </a:lnTo>
                    <a:lnTo>
                      <a:pt x="117" y="499"/>
                    </a:lnTo>
                    <a:lnTo>
                      <a:pt x="103" y="522"/>
                    </a:lnTo>
                    <a:lnTo>
                      <a:pt x="90" y="544"/>
                    </a:lnTo>
                    <a:lnTo>
                      <a:pt x="77" y="568"/>
                    </a:lnTo>
                    <a:lnTo>
                      <a:pt x="65" y="592"/>
                    </a:lnTo>
                    <a:lnTo>
                      <a:pt x="54" y="617"/>
                    </a:lnTo>
                    <a:lnTo>
                      <a:pt x="44" y="641"/>
                    </a:lnTo>
                    <a:lnTo>
                      <a:pt x="35" y="666"/>
                    </a:lnTo>
                    <a:lnTo>
                      <a:pt x="27" y="692"/>
                    </a:lnTo>
                    <a:lnTo>
                      <a:pt x="20" y="717"/>
                    </a:lnTo>
                    <a:lnTo>
                      <a:pt x="14" y="743"/>
                    </a:lnTo>
                    <a:lnTo>
                      <a:pt x="9" y="769"/>
                    </a:lnTo>
                    <a:lnTo>
                      <a:pt x="5" y="795"/>
                    </a:lnTo>
                    <a:lnTo>
                      <a:pt x="2" y="821"/>
                    </a:lnTo>
                    <a:lnTo>
                      <a:pt x="0" y="848"/>
                    </a:lnTo>
                    <a:lnTo>
                      <a:pt x="0" y="874"/>
                    </a:lnTo>
                    <a:lnTo>
                      <a:pt x="1" y="900"/>
                    </a:lnTo>
                    <a:lnTo>
                      <a:pt x="3" y="926"/>
                    </a:lnTo>
                    <a:lnTo>
                      <a:pt x="6" y="952"/>
                    </a:lnTo>
                    <a:lnTo>
                      <a:pt x="11" y="978"/>
                    </a:lnTo>
                    <a:lnTo>
                      <a:pt x="17" y="1004"/>
                    </a:lnTo>
                    <a:lnTo>
                      <a:pt x="25" y="1030"/>
                    </a:lnTo>
                    <a:lnTo>
                      <a:pt x="34" y="1054"/>
                    </a:lnTo>
                    <a:lnTo>
                      <a:pt x="44" y="1079"/>
                    </a:lnTo>
                    <a:lnTo>
                      <a:pt x="56" y="1103"/>
                    </a:lnTo>
                    <a:lnTo>
                      <a:pt x="69" y="1127"/>
                    </a:lnTo>
                    <a:lnTo>
                      <a:pt x="85" y="1150"/>
                    </a:lnTo>
                    <a:lnTo>
                      <a:pt x="101" y="1172"/>
                    </a:lnTo>
                    <a:lnTo>
                      <a:pt x="120" y="1194"/>
                    </a:lnTo>
                    <a:lnTo>
                      <a:pt x="140" y="1216"/>
                    </a:lnTo>
                    <a:lnTo>
                      <a:pt x="161" y="1236"/>
                    </a:lnTo>
                    <a:lnTo>
                      <a:pt x="178" y="1250"/>
                    </a:lnTo>
                    <a:lnTo>
                      <a:pt x="195" y="1262"/>
                    </a:lnTo>
                    <a:lnTo>
                      <a:pt x="214" y="1274"/>
                    </a:lnTo>
                    <a:lnTo>
                      <a:pt x="233" y="1284"/>
                    </a:lnTo>
                    <a:lnTo>
                      <a:pt x="253" y="1293"/>
                    </a:lnTo>
                    <a:lnTo>
                      <a:pt x="274" y="1300"/>
                    </a:lnTo>
                    <a:lnTo>
                      <a:pt x="296" y="1307"/>
                    </a:lnTo>
                    <a:lnTo>
                      <a:pt x="319" y="1313"/>
                    </a:lnTo>
                    <a:lnTo>
                      <a:pt x="343" y="1317"/>
                    </a:lnTo>
                    <a:lnTo>
                      <a:pt x="366" y="1321"/>
                    </a:lnTo>
                    <a:lnTo>
                      <a:pt x="391" y="1324"/>
                    </a:lnTo>
                    <a:lnTo>
                      <a:pt x="416" y="1325"/>
                    </a:lnTo>
                    <a:lnTo>
                      <a:pt x="442" y="1326"/>
                    </a:lnTo>
                    <a:lnTo>
                      <a:pt x="468" y="1325"/>
                    </a:lnTo>
                    <a:lnTo>
                      <a:pt x="495" y="1324"/>
                    </a:lnTo>
                    <a:lnTo>
                      <a:pt x="522" y="1322"/>
                    </a:lnTo>
                    <a:lnTo>
                      <a:pt x="549" y="1319"/>
                    </a:lnTo>
                    <a:lnTo>
                      <a:pt x="577" y="1316"/>
                    </a:lnTo>
                    <a:lnTo>
                      <a:pt x="606" y="1311"/>
                    </a:lnTo>
                    <a:lnTo>
                      <a:pt x="635" y="1306"/>
                    </a:lnTo>
                    <a:lnTo>
                      <a:pt x="664" y="1300"/>
                    </a:lnTo>
                    <a:lnTo>
                      <a:pt x="693" y="1293"/>
                    </a:lnTo>
                    <a:lnTo>
                      <a:pt x="722" y="1286"/>
                    </a:lnTo>
                    <a:lnTo>
                      <a:pt x="752" y="1277"/>
                    </a:lnTo>
                    <a:lnTo>
                      <a:pt x="781" y="1269"/>
                    </a:lnTo>
                    <a:lnTo>
                      <a:pt x="811" y="1259"/>
                    </a:lnTo>
                    <a:lnTo>
                      <a:pt x="840" y="1249"/>
                    </a:lnTo>
                    <a:lnTo>
                      <a:pt x="870" y="1239"/>
                    </a:lnTo>
                    <a:lnTo>
                      <a:pt x="899" y="1227"/>
                    </a:lnTo>
                    <a:lnTo>
                      <a:pt x="930" y="1216"/>
                    </a:lnTo>
                    <a:lnTo>
                      <a:pt x="959" y="1204"/>
                    </a:lnTo>
                    <a:lnTo>
                      <a:pt x="988" y="1191"/>
                    </a:lnTo>
                    <a:lnTo>
                      <a:pt x="1021" y="1176"/>
                    </a:lnTo>
                    <a:lnTo>
                      <a:pt x="1052" y="1161"/>
                    </a:lnTo>
                    <a:lnTo>
                      <a:pt x="1083" y="1145"/>
                    </a:lnTo>
                    <a:lnTo>
                      <a:pt x="1112" y="1129"/>
                    </a:lnTo>
                    <a:lnTo>
                      <a:pt x="1141" y="1113"/>
                    </a:lnTo>
                    <a:lnTo>
                      <a:pt x="1169" y="1096"/>
                    </a:lnTo>
                    <a:lnTo>
                      <a:pt x="1195" y="1079"/>
                    </a:lnTo>
                    <a:lnTo>
                      <a:pt x="1220" y="1062"/>
                    </a:lnTo>
                    <a:lnTo>
                      <a:pt x="1337" y="978"/>
                    </a:lnTo>
                    <a:lnTo>
                      <a:pt x="1444" y="900"/>
                    </a:lnTo>
                    <a:lnTo>
                      <a:pt x="1544" y="825"/>
                    </a:lnTo>
                    <a:lnTo>
                      <a:pt x="1636" y="756"/>
                    </a:lnTo>
                    <a:lnTo>
                      <a:pt x="1719" y="691"/>
                    </a:lnTo>
                    <a:lnTo>
                      <a:pt x="1796" y="631"/>
                    </a:lnTo>
                    <a:lnTo>
                      <a:pt x="1865" y="575"/>
                    </a:lnTo>
                    <a:lnTo>
                      <a:pt x="1926" y="525"/>
                    </a:lnTo>
                    <a:lnTo>
                      <a:pt x="1980" y="481"/>
                    </a:lnTo>
                    <a:lnTo>
                      <a:pt x="2026" y="442"/>
                    </a:lnTo>
                    <a:lnTo>
                      <a:pt x="2064" y="408"/>
                    </a:lnTo>
                    <a:lnTo>
                      <a:pt x="2096" y="380"/>
                    </a:lnTo>
                    <a:lnTo>
                      <a:pt x="2120" y="359"/>
                    </a:lnTo>
                    <a:lnTo>
                      <a:pt x="2138" y="343"/>
                    </a:lnTo>
                    <a:lnTo>
                      <a:pt x="2148" y="333"/>
                    </a:lnTo>
                    <a:lnTo>
                      <a:pt x="2152" y="330"/>
                    </a:lnTo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1" name="Freeform 17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92" name="Freeform 18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1536" name="Прямоугольник 1535"/>
          <p:cNvSpPr/>
          <p:nvPr/>
        </p:nvSpPr>
        <p:spPr>
          <a:xfrm>
            <a:off x="3933825" y="3848100"/>
            <a:ext cx="236538" cy="59372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1537" name="Прямоугольник 1536"/>
          <p:cNvSpPr/>
          <p:nvPr/>
        </p:nvSpPr>
        <p:spPr>
          <a:xfrm>
            <a:off x="3933825" y="2270125"/>
            <a:ext cx="236538" cy="931863"/>
          </a:xfrm>
          <a:prstGeom prst="rect">
            <a:avLst/>
          </a:prstGeom>
          <a:solidFill>
            <a:srgbClr val="FF0000"/>
          </a:solidFill>
          <a:ln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1538" name="Прямоугольник 1537"/>
          <p:cNvSpPr/>
          <p:nvPr/>
        </p:nvSpPr>
        <p:spPr>
          <a:xfrm>
            <a:off x="3933825" y="5375275"/>
            <a:ext cx="236538" cy="1698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cxnSp>
        <p:nvCxnSpPr>
          <p:cNvPr id="161" name="Прямая со стрелкой 160"/>
          <p:cNvCxnSpPr>
            <a:cxnSpLocks noChangeShapeType="1"/>
          </p:cNvCxnSpPr>
          <p:nvPr/>
        </p:nvCxnSpPr>
        <p:spPr bwMode="auto">
          <a:xfrm>
            <a:off x="1433513" y="2800350"/>
            <a:ext cx="839787" cy="20638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" name="Прямая со стрелкой 163"/>
          <p:cNvCxnSpPr>
            <a:cxnSpLocks noChangeShapeType="1"/>
          </p:cNvCxnSpPr>
          <p:nvPr/>
        </p:nvCxnSpPr>
        <p:spPr bwMode="auto">
          <a:xfrm>
            <a:off x="1433513" y="5233988"/>
            <a:ext cx="919162" cy="20637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3" name="Прямая со стрелкой 172"/>
          <p:cNvCxnSpPr>
            <a:cxnSpLocks noChangeShapeType="1"/>
          </p:cNvCxnSpPr>
          <p:nvPr/>
        </p:nvCxnSpPr>
        <p:spPr bwMode="auto">
          <a:xfrm>
            <a:off x="1433513" y="4059238"/>
            <a:ext cx="889000" cy="20637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6" name="Прямая со стрелкой 175"/>
          <p:cNvCxnSpPr>
            <a:cxnSpLocks noChangeShapeType="1"/>
          </p:cNvCxnSpPr>
          <p:nvPr/>
        </p:nvCxnSpPr>
        <p:spPr bwMode="auto">
          <a:xfrm flipV="1">
            <a:off x="1433513" y="2820988"/>
            <a:ext cx="839787" cy="1238250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5" name="Прямая со стрелкой 184"/>
          <p:cNvCxnSpPr>
            <a:cxnSpLocks noChangeShapeType="1"/>
          </p:cNvCxnSpPr>
          <p:nvPr/>
        </p:nvCxnSpPr>
        <p:spPr bwMode="auto">
          <a:xfrm flipV="1">
            <a:off x="1433513" y="4079875"/>
            <a:ext cx="889000" cy="1154113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8" name="Прямая со стрелкой 187"/>
          <p:cNvCxnSpPr>
            <a:cxnSpLocks noChangeShapeType="1"/>
          </p:cNvCxnSpPr>
          <p:nvPr/>
        </p:nvCxnSpPr>
        <p:spPr bwMode="auto">
          <a:xfrm flipV="1">
            <a:off x="1433513" y="2820988"/>
            <a:ext cx="839787" cy="2413000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4293" name="Picture 66" descr="E:\Новая папка (2)\derevo2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7913" y="5203825"/>
            <a:ext cx="4984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9" name="Прямая со стрелкой 178"/>
          <p:cNvCxnSpPr>
            <a:cxnSpLocks noChangeShapeType="1"/>
          </p:cNvCxnSpPr>
          <p:nvPr/>
        </p:nvCxnSpPr>
        <p:spPr bwMode="auto">
          <a:xfrm>
            <a:off x="1433513" y="4059238"/>
            <a:ext cx="919162" cy="1195387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9" name="Прямая со стрелкой 168"/>
          <p:cNvCxnSpPr>
            <a:cxnSpLocks noChangeShapeType="1"/>
          </p:cNvCxnSpPr>
          <p:nvPr/>
        </p:nvCxnSpPr>
        <p:spPr bwMode="auto">
          <a:xfrm>
            <a:off x="1433513" y="2800350"/>
            <a:ext cx="919162" cy="2454275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Прямая со стрелкой 168"/>
          <p:cNvCxnSpPr>
            <a:cxnSpLocks noChangeShapeType="1"/>
          </p:cNvCxnSpPr>
          <p:nvPr/>
        </p:nvCxnSpPr>
        <p:spPr bwMode="auto">
          <a:xfrm>
            <a:off x="1433513" y="2800350"/>
            <a:ext cx="889000" cy="1279525"/>
          </a:xfrm>
          <a:prstGeom prst="straightConnector1">
            <a:avLst/>
          </a:prstGeom>
          <a:noFill/>
          <a:ln w="9525" algn="ctr">
            <a:solidFill>
              <a:srgbClr val="CC0000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54297" name="Группа 266"/>
          <p:cNvGrpSpPr>
            <a:grpSpLocks/>
          </p:cNvGrpSpPr>
          <p:nvPr/>
        </p:nvGrpSpPr>
        <p:grpSpPr bwMode="auto">
          <a:xfrm>
            <a:off x="4346575" y="4933950"/>
            <a:ext cx="1152525" cy="973138"/>
            <a:chOff x="418547" y="5291163"/>
            <a:chExt cx="1153057" cy="973545"/>
          </a:xfrm>
        </p:grpSpPr>
        <p:sp>
          <p:nvSpPr>
            <p:cNvPr id="40" name="Скругленный прямоугольник 39"/>
            <p:cNvSpPr/>
            <p:nvPr/>
          </p:nvSpPr>
          <p:spPr>
            <a:xfrm>
              <a:off x="428076" y="5291163"/>
              <a:ext cx="1143528" cy="571739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ЛПУ</a:t>
              </a:r>
            </a:p>
            <a:p>
              <a:pPr algn="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первичного </a:t>
              </a:r>
            </a:p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звена</a:t>
              </a:r>
              <a:endParaRPr lang="ru-RU" sz="1100" dirty="0"/>
            </a:p>
          </p:txBody>
        </p:sp>
        <p:grpSp>
          <p:nvGrpSpPr>
            <p:cNvPr id="54468" name="Группа 62"/>
            <p:cNvGrpSpPr>
              <a:grpSpLocks/>
            </p:cNvGrpSpPr>
            <p:nvPr/>
          </p:nvGrpSpPr>
          <p:grpSpPr bwMode="auto">
            <a:xfrm flipH="1">
              <a:off x="418547" y="5546754"/>
              <a:ext cx="319588" cy="717954"/>
              <a:chOff x="928688" y="5000627"/>
              <a:chExt cx="566738" cy="1273176"/>
            </a:xfrm>
          </p:grpSpPr>
          <p:sp>
            <p:nvSpPr>
              <p:cNvPr id="54469" name="Freeform 8"/>
              <p:cNvSpPr>
                <a:spLocks/>
              </p:cNvSpPr>
              <p:nvPr/>
            </p:nvSpPr>
            <p:spPr bwMode="auto">
              <a:xfrm>
                <a:off x="928688" y="5243513"/>
                <a:ext cx="566737" cy="1030288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0" name="Freeform 9"/>
              <p:cNvSpPr>
                <a:spLocks/>
              </p:cNvSpPr>
              <p:nvPr/>
            </p:nvSpPr>
            <p:spPr bwMode="auto">
              <a:xfrm>
                <a:off x="928690" y="5243516"/>
                <a:ext cx="566736" cy="1030287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1" name="Freeform 10"/>
              <p:cNvSpPr>
                <a:spLocks/>
              </p:cNvSpPr>
              <p:nvPr/>
            </p:nvSpPr>
            <p:spPr bwMode="auto">
              <a:xfrm>
                <a:off x="1101725" y="5000627"/>
                <a:ext cx="225424" cy="236539"/>
              </a:xfrm>
              <a:custGeom>
                <a:avLst/>
                <a:gdLst>
                  <a:gd name="T0" fmla="*/ 2147483647 w 2821"/>
                  <a:gd name="T1" fmla="*/ 2147483647 h 2969"/>
                  <a:gd name="T2" fmla="*/ 2147483647 w 2821"/>
                  <a:gd name="T3" fmla="*/ 2147483647 h 2969"/>
                  <a:gd name="T4" fmla="*/ 2147483647 w 2821"/>
                  <a:gd name="T5" fmla="*/ 2147483647 h 2969"/>
                  <a:gd name="T6" fmla="*/ 2147483647 w 2821"/>
                  <a:gd name="T7" fmla="*/ 2147483647 h 2969"/>
                  <a:gd name="T8" fmla="*/ 2147483647 w 2821"/>
                  <a:gd name="T9" fmla="*/ 2147483647 h 2969"/>
                  <a:gd name="T10" fmla="*/ 2147483647 w 2821"/>
                  <a:gd name="T11" fmla="*/ 2147483647 h 2969"/>
                  <a:gd name="T12" fmla="*/ 2147483647 w 2821"/>
                  <a:gd name="T13" fmla="*/ 2147483647 h 2969"/>
                  <a:gd name="T14" fmla="*/ 2147483647 w 2821"/>
                  <a:gd name="T15" fmla="*/ 2147483647 h 2969"/>
                  <a:gd name="T16" fmla="*/ 2147483647 w 2821"/>
                  <a:gd name="T17" fmla="*/ 2147483647 h 2969"/>
                  <a:gd name="T18" fmla="*/ 2147483647 w 2821"/>
                  <a:gd name="T19" fmla="*/ 2147483647 h 2969"/>
                  <a:gd name="T20" fmla="*/ 2147483647 w 2821"/>
                  <a:gd name="T21" fmla="*/ 2147483647 h 2969"/>
                  <a:gd name="T22" fmla="*/ 2147483647 w 2821"/>
                  <a:gd name="T23" fmla="*/ 2147483647 h 2969"/>
                  <a:gd name="T24" fmla="*/ 2147483647 w 2821"/>
                  <a:gd name="T25" fmla="*/ 2147483647 h 2969"/>
                  <a:gd name="T26" fmla="*/ 2147483647 w 2821"/>
                  <a:gd name="T27" fmla="*/ 2147483647 h 2969"/>
                  <a:gd name="T28" fmla="*/ 2147483647 w 2821"/>
                  <a:gd name="T29" fmla="*/ 2147483647 h 2969"/>
                  <a:gd name="T30" fmla="*/ 2147483647 w 2821"/>
                  <a:gd name="T31" fmla="*/ 2147483647 h 2969"/>
                  <a:gd name="T32" fmla="*/ 2147483647 w 2821"/>
                  <a:gd name="T33" fmla="*/ 2147483647 h 2969"/>
                  <a:gd name="T34" fmla="*/ 2147483647 w 2821"/>
                  <a:gd name="T35" fmla="*/ 2147483647 h 2969"/>
                  <a:gd name="T36" fmla="*/ 2147483647 w 2821"/>
                  <a:gd name="T37" fmla="*/ 2147483647 h 2969"/>
                  <a:gd name="T38" fmla="*/ 2147483647 w 2821"/>
                  <a:gd name="T39" fmla="*/ 2147483647 h 2969"/>
                  <a:gd name="T40" fmla="*/ 2147483647 w 2821"/>
                  <a:gd name="T41" fmla="*/ 2147483647 h 2969"/>
                  <a:gd name="T42" fmla="*/ 2147483647 w 2821"/>
                  <a:gd name="T43" fmla="*/ 2147483647 h 2969"/>
                  <a:gd name="T44" fmla="*/ 2147483647 w 2821"/>
                  <a:gd name="T45" fmla="*/ 2147483647 h 2969"/>
                  <a:gd name="T46" fmla="*/ 2147483647 w 2821"/>
                  <a:gd name="T47" fmla="*/ 2147483647 h 2969"/>
                  <a:gd name="T48" fmla="*/ 2147483647 w 2821"/>
                  <a:gd name="T49" fmla="*/ 2147483647 h 2969"/>
                  <a:gd name="T50" fmla="*/ 2147483647 w 2821"/>
                  <a:gd name="T51" fmla="*/ 2147483647 h 2969"/>
                  <a:gd name="T52" fmla="*/ 2147483647 w 2821"/>
                  <a:gd name="T53" fmla="*/ 2147483647 h 2969"/>
                  <a:gd name="T54" fmla="*/ 2147483647 w 2821"/>
                  <a:gd name="T55" fmla="*/ 2147483647 h 2969"/>
                  <a:gd name="T56" fmla="*/ 2147483647 w 2821"/>
                  <a:gd name="T57" fmla="*/ 2147483647 h 2969"/>
                  <a:gd name="T58" fmla="*/ 2147483647 w 2821"/>
                  <a:gd name="T59" fmla="*/ 2147483647 h 2969"/>
                  <a:gd name="T60" fmla="*/ 2147483647 w 2821"/>
                  <a:gd name="T61" fmla="*/ 2147483647 h 2969"/>
                  <a:gd name="T62" fmla="*/ 2147483647 w 2821"/>
                  <a:gd name="T63" fmla="*/ 2147483647 h 2969"/>
                  <a:gd name="T64" fmla="*/ 2147483647 w 2821"/>
                  <a:gd name="T65" fmla="*/ 2147483647 h 2969"/>
                  <a:gd name="T66" fmla="*/ 2147483647 w 2821"/>
                  <a:gd name="T67" fmla="*/ 2147483647 h 2969"/>
                  <a:gd name="T68" fmla="*/ 2147483647 w 2821"/>
                  <a:gd name="T69" fmla="*/ 2147483647 h 2969"/>
                  <a:gd name="T70" fmla="*/ 2147483647 w 2821"/>
                  <a:gd name="T71" fmla="*/ 2147483647 h 2969"/>
                  <a:gd name="T72" fmla="*/ 2147483647 w 2821"/>
                  <a:gd name="T73" fmla="*/ 2147483647 h 2969"/>
                  <a:gd name="T74" fmla="*/ 2147483647 w 2821"/>
                  <a:gd name="T75" fmla="*/ 2147483647 h 2969"/>
                  <a:gd name="T76" fmla="*/ 2147483647 w 2821"/>
                  <a:gd name="T77" fmla="*/ 2147483647 h 2969"/>
                  <a:gd name="T78" fmla="*/ 2147483647 w 2821"/>
                  <a:gd name="T79" fmla="*/ 2147483647 h 2969"/>
                  <a:gd name="T80" fmla="*/ 2147483647 w 2821"/>
                  <a:gd name="T81" fmla="*/ 2147483647 h 2969"/>
                  <a:gd name="T82" fmla="*/ 2147483647 w 2821"/>
                  <a:gd name="T83" fmla="*/ 2147483647 h 2969"/>
                  <a:gd name="T84" fmla="*/ 2147483647 w 2821"/>
                  <a:gd name="T85" fmla="*/ 0 h 29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21"/>
                  <a:gd name="T130" fmla="*/ 0 h 2969"/>
                  <a:gd name="T131" fmla="*/ 2821 w 2821"/>
                  <a:gd name="T132" fmla="*/ 2969 h 29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21" h="2969">
                    <a:moveTo>
                      <a:pt x="1411" y="0"/>
                    </a:moveTo>
                    <a:lnTo>
                      <a:pt x="1483" y="2"/>
                    </a:lnTo>
                    <a:lnTo>
                      <a:pt x="1555" y="8"/>
                    </a:lnTo>
                    <a:lnTo>
                      <a:pt x="1625" y="17"/>
                    </a:lnTo>
                    <a:lnTo>
                      <a:pt x="1695" y="30"/>
                    </a:lnTo>
                    <a:lnTo>
                      <a:pt x="1763" y="47"/>
                    </a:lnTo>
                    <a:lnTo>
                      <a:pt x="1830" y="67"/>
                    </a:lnTo>
                    <a:lnTo>
                      <a:pt x="1895" y="90"/>
                    </a:lnTo>
                    <a:lnTo>
                      <a:pt x="1959" y="117"/>
                    </a:lnTo>
                    <a:lnTo>
                      <a:pt x="2022" y="146"/>
                    </a:lnTo>
                    <a:lnTo>
                      <a:pt x="2083" y="179"/>
                    </a:lnTo>
                    <a:lnTo>
                      <a:pt x="2142" y="216"/>
                    </a:lnTo>
                    <a:lnTo>
                      <a:pt x="2199" y="254"/>
                    </a:lnTo>
                    <a:lnTo>
                      <a:pt x="2254" y="296"/>
                    </a:lnTo>
                    <a:lnTo>
                      <a:pt x="2307" y="339"/>
                    </a:lnTo>
                    <a:lnTo>
                      <a:pt x="2359" y="386"/>
                    </a:lnTo>
                    <a:lnTo>
                      <a:pt x="2408" y="435"/>
                    </a:lnTo>
                    <a:lnTo>
                      <a:pt x="2454" y="487"/>
                    </a:lnTo>
                    <a:lnTo>
                      <a:pt x="2499" y="540"/>
                    </a:lnTo>
                    <a:lnTo>
                      <a:pt x="2540" y="597"/>
                    </a:lnTo>
                    <a:lnTo>
                      <a:pt x="2579" y="655"/>
                    </a:lnTo>
                    <a:lnTo>
                      <a:pt x="2616" y="715"/>
                    </a:lnTo>
                    <a:lnTo>
                      <a:pt x="2651" y="777"/>
                    </a:lnTo>
                    <a:lnTo>
                      <a:pt x="2682" y="841"/>
                    </a:lnTo>
                    <a:lnTo>
                      <a:pt x="2710" y="907"/>
                    </a:lnTo>
                    <a:lnTo>
                      <a:pt x="2735" y="974"/>
                    </a:lnTo>
                    <a:lnTo>
                      <a:pt x="2757" y="1044"/>
                    </a:lnTo>
                    <a:lnTo>
                      <a:pt x="2776" y="1114"/>
                    </a:lnTo>
                    <a:lnTo>
                      <a:pt x="2792" y="1186"/>
                    </a:lnTo>
                    <a:lnTo>
                      <a:pt x="2804" y="1259"/>
                    </a:lnTo>
                    <a:lnTo>
                      <a:pt x="2813" y="1333"/>
                    </a:lnTo>
                    <a:lnTo>
                      <a:pt x="2819" y="1409"/>
                    </a:lnTo>
                    <a:lnTo>
                      <a:pt x="2821" y="1485"/>
                    </a:lnTo>
                    <a:lnTo>
                      <a:pt x="2819" y="1561"/>
                    </a:lnTo>
                    <a:lnTo>
                      <a:pt x="2813" y="1637"/>
                    </a:lnTo>
                    <a:lnTo>
                      <a:pt x="2804" y="1711"/>
                    </a:lnTo>
                    <a:lnTo>
                      <a:pt x="2792" y="1784"/>
                    </a:lnTo>
                    <a:lnTo>
                      <a:pt x="2776" y="1856"/>
                    </a:lnTo>
                    <a:lnTo>
                      <a:pt x="2757" y="1926"/>
                    </a:lnTo>
                    <a:lnTo>
                      <a:pt x="2735" y="1995"/>
                    </a:lnTo>
                    <a:lnTo>
                      <a:pt x="2710" y="2063"/>
                    </a:lnTo>
                    <a:lnTo>
                      <a:pt x="2682" y="2128"/>
                    </a:lnTo>
                    <a:lnTo>
                      <a:pt x="2651" y="2192"/>
                    </a:lnTo>
                    <a:lnTo>
                      <a:pt x="2616" y="2255"/>
                    </a:lnTo>
                    <a:lnTo>
                      <a:pt x="2579" y="2315"/>
                    </a:lnTo>
                    <a:lnTo>
                      <a:pt x="2540" y="2373"/>
                    </a:lnTo>
                    <a:lnTo>
                      <a:pt x="2499" y="2429"/>
                    </a:lnTo>
                    <a:lnTo>
                      <a:pt x="2454" y="2483"/>
                    </a:lnTo>
                    <a:lnTo>
                      <a:pt x="2408" y="2534"/>
                    </a:lnTo>
                    <a:lnTo>
                      <a:pt x="2359" y="2583"/>
                    </a:lnTo>
                    <a:lnTo>
                      <a:pt x="2307" y="2631"/>
                    </a:lnTo>
                    <a:lnTo>
                      <a:pt x="2254" y="2675"/>
                    </a:lnTo>
                    <a:lnTo>
                      <a:pt x="2199" y="2716"/>
                    </a:lnTo>
                    <a:lnTo>
                      <a:pt x="2142" y="2755"/>
                    </a:lnTo>
                    <a:lnTo>
                      <a:pt x="2083" y="2790"/>
                    </a:lnTo>
                    <a:lnTo>
                      <a:pt x="2022" y="2823"/>
                    </a:lnTo>
                    <a:lnTo>
                      <a:pt x="1959" y="2853"/>
                    </a:lnTo>
                    <a:lnTo>
                      <a:pt x="1895" y="2879"/>
                    </a:lnTo>
                    <a:lnTo>
                      <a:pt x="1830" y="2902"/>
                    </a:lnTo>
                    <a:lnTo>
                      <a:pt x="1763" y="2922"/>
                    </a:lnTo>
                    <a:lnTo>
                      <a:pt x="1695" y="2939"/>
                    </a:lnTo>
                    <a:lnTo>
                      <a:pt x="1625" y="2952"/>
                    </a:lnTo>
                    <a:lnTo>
                      <a:pt x="1555" y="2961"/>
                    </a:lnTo>
                    <a:lnTo>
                      <a:pt x="1483" y="2967"/>
                    </a:lnTo>
                    <a:lnTo>
                      <a:pt x="1411" y="2969"/>
                    </a:lnTo>
                    <a:lnTo>
                      <a:pt x="1338" y="2967"/>
                    </a:lnTo>
                    <a:lnTo>
                      <a:pt x="1266" y="2961"/>
                    </a:lnTo>
                    <a:lnTo>
                      <a:pt x="1196" y="2952"/>
                    </a:lnTo>
                    <a:lnTo>
                      <a:pt x="1127" y="2939"/>
                    </a:lnTo>
                    <a:lnTo>
                      <a:pt x="1058" y="2922"/>
                    </a:lnTo>
                    <a:lnTo>
                      <a:pt x="991" y="2902"/>
                    </a:lnTo>
                    <a:lnTo>
                      <a:pt x="926" y="2879"/>
                    </a:lnTo>
                    <a:lnTo>
                      <a:pt x="862" y="2853"/>
                    </a:lnTo>
                    <a:lnTo>
                      <a:pt x="800" y="2823"/>
                    </a:lnTo>
                    <a:lnTo>
                      <a:pt x="738" y="2790"/>
                    </a:lnTo>
                    <a:lnTo>
                      <a:pt x="679" y="2755"/>
                    </a:lnTo>
                    <a:lnTo>
                      <a:pt x="622" y="2716"/>
                    </a:lnTo>
                    <a:lnTo>
                      <a:pt x="567" y="2675"/>
                    </a:lnTo>
                    <a:lnTo>
                      <a:pt x="514" y="2631"/>
                    </a:lnTo>
                    <a:lnTo>
                      <a:pt x="463" y="2583"/>
                    </a:lnTo>
                    <a:lnTo>
                      <a:pt x="413" y="2534"/>
                    </a:lnTo>
                    <a:lnTo>
                      <a:pt x="367" y="2483"/>
                    </a:lnTo>
                    <a:lnTo>
                      <a:pt x="322" y="2429"/>
                    </a:lnTo>
                    <a:lnTo>
                      <a:pt x="281" y="2373"/>
                    </a:lnTo>
                    <a:lnTo>
                      <a:pt x="242" y="2315"/>
                    </a:lnTo>
                    <a:lnTo>
                      <a:pt x="205" y="2255"/>
                    </a:lnTo>
                    <a:lnTo>
                      <a:pt x="171" y="2192"/>
                    </a:lnTo>
                    <a:lnTo>
                      <a:pt x="140" y="2128"/>
                    </a:lnTo>
                    <a:lnTo>
                      <a:pt x="111" y="2063"/>
                    </a:lnTo>
                    <a:lnTo>
                      <a:pt x="86" y="1995"/>
                    </a:lnTo>
                    <a:lnTo>
                      <a:pt x="64" y="1926"/>
                    </a:lnTo>
                    <a:lnTo>
                      <a:pt x="45" y="1856"/>
                    </a:lnTo>
                    <a:lnTo>
                      <a:pt x="29" y="1784"/>
                    </a:lnTo>
                    <a:lnTo>
                      <a:pt x="17" y="1711"/>
                    </a:lnTo>
                    <a:lnTo>
                      <a:pt x="8" y="1637"/>
                    </a:lnTo>
                    <a:lnTo>
                      <a:pt x="2" y="1561"/>
                    </a:lnTo>
                    <a:lnTo>
                      <a:pt x="0" y="1485"/>
                    </a:lnTo>
                    <a:lnTo>
                      <a:pt x="2" y="1409"/>
                    </a:lnTo>
                    <a:lnTo>
                      <a:pt x="8" y="1333"/>
                    </a:lnTo>
                    <a:lnTo>
                      <a:pt x="17" y="1259"/>
                    </a:lnTo>
                    <a:lnTo>
                      <a:pt x="29" y="1186"/>
                    </a:lnTo>
                    <a:lnTo>
                      <a:pt x="45" y="1114"/>
                    </a:lnTo>
                    <a:lnTo>
                      <a:pt x="64" y="1044"/>
                    </a:lnTo>
                    <a:lnTo>
                      <a:pt x="86" y="974"/>
                    </a:lnTo>
                    <a:lnTo>
                      <a:pt x="111" y="907"/>
                    </a:lnTo>
                    <a:lnTo>
                      <a:pt x="140" y="841"/>
                    </a:lnTo>
                    <a:lnTo>
                      <a:pt x="171" y="777"/>
                    </a:lnTo>
                    <a:lnTo>
                      <a:pt x="205" y="715"/>
                    </a:lnTo>
                    <a:lnTo>
                      <a:pt x="242" y="655"/>
                    </a:lnTo>
                    <a:lnTo>
                      <a:pt x="281" y="597"/>
                    </a:lnTo>
                    <a:lnTo>
                      <a:pt x="322" y="540"/>
                    </a:lnTo>
                    <a:lnTo>
                      <a:pt x="367" y="487"/>
                    </a:lnTo>
                    <a:lnTo>
                      <a:pt x="413" y="435"/>
                    </a:lnTo>
                    <a:lnTo>
                      <a:pt x="463" y="386"/>
                    </a:lnTo>
                    <a:lnTo>
                      <a:pt x="514" y="339"/>
                    </a:lnTo>
                    <a:lnTo>
                      <a:pt x="567" y="296"/>
                    </a:lnTo>
                    <a:lnTo>
                      <a:pt x="622" y="254"/>
                    </a:lnTo>
                    <a:lnTo>
                      <a:pt x="679" y="216"/>
                    </a:lnTo>
                    <a:lnTo>
                      <a:pt x="738" y="179"/>
                    </a:lnTo>
                    <a:lnTo>
                      <a:pt x="800" y="146"/>
                    </a:lnTo>
                    <a:lnTo>
                      <a:pt x="862" y="117"/>
                    </a:lnTo>
                    <a:lnTo>
                      <a:pt x="926" y="90"/>
                    </a:lnTo>
                    <a:lnTo>
                      <a:pt x="991" y="67"/>
                    </a:lnTo>
                    <a:lnTo>
                      <a:pt x="1058" y="47"/>
                    </a:lnTo>
                    <a:lnTo>
                      <a:pt x="1127" y="30"/>
                    </a:lnTo>
                    <a:lnTo>
                      <a:pt x="1196" y="17"/>
                    </a:lnTo>
                    <a:lnTo>
                      <a:pt x="1266" y="8"/>
                    </a:lnTo>
                    <a:lnTo>
                      <a:pt x="1338" y="2"/>
                    </a:lnTo>
                    <a:lnTo>
                      <a:pt x="1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1">
                <a:solidFill>
                  <a:srgbClr val="1F1A1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2" name="Freeform 11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3" name="Freeform 12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4" name="Freeform 13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solidFill>
                <a:srgbClr val="AA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5" name="Freeform 14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6" name="Freeform 15"/>
              <p:cNvSpPr>
                <a:spLocks/>
              </p:cNvSpPr>
              <p:nvPr/>
            </p:nvSpPr>
            <p:spPr bwMode="auto">
              <a:xfrm>
                <a:off x="1311275" y="5405438"/>
                <a:ext cx="169862" cy="114300"/>
              </a:xfrm>
              <a:custGeom>
                <a:avLst/>
                <a:gdLst>
                  <a:gd name="T0" fmla="*/ 2147483647 w 2144"/>
                  <a:gd name="T1" fmla="*/ 2147483647 h 1454"/>
                  <a:gd name="T2" fmla="*/ 2147483647 w 2144"/>
                  <a:gd name="T3" fmla="*/ 2147483647 h 1454"/>
                  <a:gd name="T4" fmla="*/ 2147483647 w 2144"/>
                  <a:gd name="T5" fmla="*/ 2147483647 h 1454"/>
                  <a:gd name="T6" fmla="*/ 2147483647 w 2144"/>
                  <a:gd name="T7" fmla="*/ 2147483647 h 1454"/>
                  <a:gd name="T8" fmla="*/ 2147483647 w 2144"/>
                  <a:gd name="T9" fmla="*/ 2147483647 h 1454"/>
                  <a:gd name="T10" fmla="*/ 2147483647 w 2144"/>
                  <a:gd name="T11" fmla="*/ 2147483647 h 1454"/>
                  <a:gd name="T12" fmla="*/ 2147483647 w 2144"/>
                  <a:gd name="T13" fmla="*/ 2147483647 h 1454"/>
                  <a:gd name="T14" fmla="*/ 2147483647 w 2144"/>
                  <a:gd name="T15" fmla="*/ 2147483647 h 1454"/>
                  <a:gd name="T16" fmla="*/ 2147483647 w 2144"/>
                  <a:gd name="T17" fmla="*/ 2147483647 h 1454"/>
                  <a:gd name="T18" fmla="*/ 2147483647 w 2144"/>
                  <a:gd name="T19" fmla="*/ 2147483647 h 1454"/>
                  <a:gd name="T20" fmla="*/ 2147483647 w 2144"/>
                  <a:gd name="T21" fmla="*/ 2147483647 h 1454"/>
                  <a:gd name="T22" fmla="*/ 2147483647 w 2144"/>
                  <a:gd name="T23" fmla="*/ 2147483647 h 1454"/>
                  <a:gd name="T24" fmla="*/ 2147483647 w 2144"/>
                  <a:gd name="T25" fmla="*/ 2147483647 h 1454"/>
                  <a:gd name="T26" fmla="*/ 2147483647 w 2144"/>
                  <a:gd name="T27" fmla="*/ 2147483647 h 1454"/>
                  <a:gd name="T28" fmla="*/ 2147483647 w 2144"/>
                  <a:gd name="T29" fmla="*/ 2147483647 h 1454"/>
                  <a:gd name="T30" fmla="*/ 2147483647 w 2144"/>
                  <a:gd name="T31" fmla="*/ 2147483647 h 1454"/>
                  <a:gd name="T32" fmla="*/ 2147483647 w 2144"/>
                  <a:gd name="T33" fmla="*/ 2147483647 h 1454"/>
                  <a:gd name="T34" fmla="*/ 2147483647 w 2144"/>
                  <a:gd name="T35" fmla="*/ 2147483647 h 1454"/>
                  <a:gd name="T36" fmla="*/ 2147483647 w 2144"/>
                  <a:gd name="T37" fmla="*/ 2147483647 h 1454"/>
                  <a:gd name="T38" fmla="*/ 2147483647 w 2144"/>
                  <a:gd name="T39" fmla="*/ 2147483647 h 1454"/>
                  <a:gd name="T40" fmla="*/ 2147483647 w 2144"/>
                  <a:gd name="T41" fmla="*/ 2147483647 h 1454"/>
                  <a:gd name="T42" fmla="*/ 2147483647 w 2144"/>
                  <a:gd name="T43" fmla="*/ 2147483647 h 1454"/>
                  <a:gd name="T44" fmla="*/ 2147483647 w 2144"/>
                  <a:gd name="T45" fmla="*/ 2147483647 h 1454"/>
                  <a:gd name="T46" fmla="*/ 2147483647 w 2144"/>
                  <a:gd name="T47" fmla="*/ 2147483647 h 1454"/>
                  <a:gd name="T48" fmla="*/ 2147483647 w 2144"/>
                  <a:gd name="T49" fmla="*/ 2147483647 h 1454"/>
                  <a:gd name="T50" fmla="*/ 2147483647 w 2144"/>
                  <a:gd name="T51" fmla="*/ 2147483647 h 1454"/>
                  <a:gd name="T52" fmla="*/ 2147483647 w 2144"/>
                  <a:gd name="T53" fmla="*/ 2147483647 h 1454"/>
                  <a:gd name="T54" fmla="*/ 2147483647 w 2144"/>
                  <a:gd name="T55" fmla="*/ 2147483647 h 1454"/>
                  <a:gd name="T56" fmla="*/ 2147483647 w 2144"/>
                  <a:gd name="T57" fmla="*/ 2147483647 h 1454"/>
                  <a:gd name="T58" fmla="*/ 2147483647 w 2144"/>
                  <a:gd name="T59" fmla="*/ 2147483647 h 1454"/>
                  <a:gd name="T60" fmla="*/ 2147483647 w 2144"/>
                  <a:gd name="T61" fmla="*/ 2147483647 h 1454"/>
                  <a:gd name="T62" fmla="*/ 2147483647 w 2144"/>
                  <a:gd name="T63" fmla="*/ 2147483647 h 1454"/>
                  <a:gd name="T64" fmla="*/ 2147483647 w 2144"/>
                  <a:gd name="T65" fmla="*/ 2147483647 h 1454"/>
                  <a:gd name="T66" fmla="*/ 2147483647 w 2144"/>
                  <a:gd name="T67" fmla="*/ 2147483647 h 1454"/>
                  <a:gd name="T68" fmla="*/ 2147483647 w 2144"/>
                  <a:gd name="T69" fmla="*/ 2147483647 h 1454"/>
                  <a:gd name="T70" fmla="*/ 2147483647 w 2144"/>
                  <a:gd name="T71" fmla="*/ 2147483647 h 1454"/>
                  <a:gd name="T72" fmla="*/ 2147483647 w 2144"/>
                  <a:gd name="T73" fmla="*/ 2147483647 h 1454"/>
                  <a:gd name="T74" fmla="*/ 2147483647 w 2144"/>
                  <a:gd name="T75" fmla="*/ 2147483647 h 1454"/>
                  <a:gd name="T76" fmla="*/ 2147483647 w 2144"/>
                  <a:gd name="T77" fmla="*/ 2147483647 h 1454"/>
                  <a:gd name="T78" fmla="*/ 2147483647 w 2144"/>
                  <a:gd name="T79" fmla="*/ 2147483647 h 1454"/>
                  <a:gd name="T80" fmla="*/ 2147483647 w 2144"/>
                  <a:gd name="T81" fmla="*/ 2147483647 h 1454"/>
                  <a:gd name="T82" fmla="*/ 2147483647 w 2144"/>
                  <a:gd name="T83" fmla="*/ 2147483647 h 1454"/>
                  <a:gd name="T84" fmla="*/ 2147483647 w 2144"/>
                  <a:gd name="T85" fmla="*/ 2147483647 h 1454"/>
                  <a:gd name="T86" fmla="*/ 2147483647 w 2144"/>
                  <a:gd name="T87" fmla="*/ 2147483647 h 1454"/>
                  <a:gd name="T88" fmla="*/ 2147483647 w 2144"/>
                  <a:gd name="T89" fmla="*/ 2147483647 h 1454"/>
                  <a:gd name="T90" fmla="*/ 2147483647 w 2144"/>
                  <a:gd name="T91" fmla="*/ 2147483647 h 1454"/>
                  <a:gd name="T92" fmla="*/ 2147483647 w 2144"/>
                  <a:gd name="T93" fmla="*/ 0 h 1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44"/>
                  <a:gd name="T142" fmla="*/ 0 h 1454"/>
                  <a:gd name="T143" fmla="*/ 2144 w 2144"/>
                  <a:gd name="T144" fmla="*/ 1454 h 1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44" h="1454">
                    <a:moveTo>
                      <a:pt x="931" y="115"/>
                    </a:moveTo>
                    <a:lnTo>
                      <a:pt x="255" y="517"/>
                    </a:lnTo>
                    <a:lnTo>
                      <a:pt x="133" y="624"/>
                    </a:lnTo>
                    <a:lnTo>
                      <a:pt x="125" y="635"/>
                    </a:lnTo>
                    <a:lnTo>
                      <a:pt x="106" y="666"/>
                    </a:lnTo>
                    <a:lnTo>
                      <a:pt x="94" y="689"/>
                    </a:lnTo>
                    <a:lnTo>
                      <a:pt x="80" y="715"/>
                    </a:lnTo>
                    <a:lnTo>
                      <a:pt x="66" y="746"/>
                    </a:lnTo>
                    <a:lnTo>
                      <a:pt x="52" y="779"/>
                    </a:lnTo>
                    <a:lnTo>
                      <a:pt x="38" y="815"/>
                    </a:lnTo>
                    <a:lnTo>
                      <a:pt x="26" y="853"/>
                    </a:lnTo>
                    <a:lnTo>
                      <a:pt x="20" y="872"/>
                    </a:lnTo>
                    <a:lnTo>
                      <a:pt x="15" y="892"/>
                    </a:lnTo>
                    <a:lnTo>
                      <a:pt x="11" y="913"/>
                    </a:lnTo>
                    <a:lnTo>
                      <a:pt x="7" y="934"/>
                    </a:lnTo>
                    <a:lnTo>
                      <a:pt x="4" y="955"/>
                    </a:lnTo>
                    <a:lnTo>
                      <a:pt x="2" y="976"/>
                    </a:lnTo>
                    <a:lnTo>
                      <a:pt x="1" y="998"/>
                    </a:lnTo>
                    <a:lnTo>
                      <a:pt x="0" y="1019"/>
                    </a:lnTo>
                    <a:lnTo>
                      <a:pt x="1" y="1041"/>
                    </a:lnTo>
                    <a:lnTo>
                      <a:pt x="3" y="1063"/>
                    </a:lnTo>
                    <a:lnTo>
                      <a:pt x="6" y="1085"/>
                    </a:lnTo>
                    <a:lnTo>
                      <a:pt x="10" y="1106"/>
                    </a:lnTo>
                    <a:lnTo>
                      <a:pt x="15" y="1129"/>
                    </a:lnTo>
                    <a:lnTo>
                      <a:pt x="23" y="1152"/>
                    </a:lnTo>
                    <a:lnTo>
                      <a:pt x="31" y="1175"/>
                    </a:lnTo>
                    <a:lnTo>
                      <a:pt x="42" y="1199"/>
                    </a:lnTo>
                    <a:lnTo>
                      <a:pt x="54" y="1223"/>
                    </a:lnTo>
                    <a:lnTo>
                      <a:pt x="68" y="1247"/>
                    </a:lnTo>
                    <a:lnTo>
                      <a:pt x="83" y="1271"/>
                    </a:lnTo>
                    <a:lnTo>
                      <a:pt x="100" y="1295"/>
                    </a:lnTo>
                    <a:lnTo>
                      <a:pt x="118" y="1318"/>
                    </a:lnTo>
                    <a:lnTo>
                      <a:pt x="138" y="1340"/>
                    </a:lnTo>
                    <a:lnTo>
                      <a:pt x="159" y="1361"/>
                    </a:lnTo>
                    <a:lnTo>
                      <a:pt x="182" y="1381"/>
                    </a:lnTo>
                    <a:lnTo>
                      <a:pt x="194" y="1391"/>
                    </a:lnTo>
                    <a:lnTo>
                      <a:pt x="206" y="1400"/>
                    </a:lnTo>
                    <a:lnTo>
                      <a:pt x="219" y="1409"/>
                    </a:lnTo>
                    <a:lnTo>
                      <a:pt x="232" y="1417"/>
                    </a:lnTo>
                    <a:lnTo>
                      <a:pt x="246" y="1425"/>
                    </a:lnTo>
                    <a:lnTo>
                      <a:pt x="259" y="1432"/>
                    </a:lnTo>
                    <a:lnTo>
                      <a:pt x="273" y="1439"/>
                    </a:lnTo>
                    <a:lnTo>
                      <a:pt x="288" y="1445"/>
                    </a:lnTo>
                    <a:lnTo>
                      <a:pt x="299" y="1449"/>
                    </a:lnTo>
                    <a:lnTo>
                      <a:pt x="312" y="1451"/>
                    </a:lnTo>
                    <a:lnTo>
                      <a:pt x="324" y="1453"/>
                    </a:lnTo>
                    <a:lnTo>
                      <a:pt x="336" y="1454"/>
                    </a:lnTo>
                    <a:lnTo>
                      <a:pt x="361" y="1454"/>
                    </a:lnTo>
                    <a:lnTo>
                      <a:pt x="387" y="1452"/>
                    </a:lnTo>
                    <a:lnTo>
                      <a:pt x="413" y="1448"/>
                    </a:lnTo>
                    <a:lnTo>
                      <a:pt x="441" y="1445"/>
                    </a:lnTo>
                    <a:lnTo>
                      <a:pt x="455" y="1444"/>
                    </a:lnTo>
                    <a:lnTo>
                      <a:pt x="469" y="1444"/>
                    </a:lnTo>
                    <a:lnTo>
                      <a:pt x="483" y="1444"/>
                    </a:lnTo>
                    <a:lnTo>
                      <a:pt x="498" y="1445"/>
                    </a:lnTo>
                    <a:lnTo>
                      <a:pt x="528" y="1446"/>
                    </a:lnTo>
                    <a:lnTo>
                      <a:pt x="560" y="1445"/>
                    </a:lnTo>
                    <a:lnTo>
                      <a:pt x="592" y="1443"/>
                    </a:lnTo>
                    <a:lnTo>
                      <a:pt x="626" y="1438"/>
                    </a:lnTo>
                    <a:lnTo>
                      <a:pt x="659" y="1432"/>
                    </a:lnTo>
                    <a:lnTo>
                      <a:pt x="694" y="1425"/>
                    </a:lnTo>
                    <a:lnTo>
                      <a:pt x="729" y="1416"/>
                    </a:lnTo>
                    <a:lnTo>
                      <a:pt x="764" y="1405"/>
                    </a:lnTo>
                    <a:lnTo>
                      <a:pt x="800" y="1393"/>
                    </a:lnTo>
                    <a:lnTo>
                      <a:pt x="836" y="1380"/>
                    </a:lnTo>
                    <a:lnTo>
                      <a:pt x="873" y="1365"/>
                    </a:lnTo>
                    <a:lnTo>
                      <a:pt x="910" y="1350"/>
                    </a:lnTo>
                    <a:lnTo>
                      <a:pt x="948" y="1333"/>
                    </a:lnTo>
                    <a:lnTo>
                      <a:pt x="985" y="1315"/>
                    </a:lnTo>
                    <a:lnTo>
                      <a:pt x="1022" y="1296"/>
                    </a:lnTo>
                    <a:lnTo>
                      <a:pt x="1060" y="1277"/>
                    </a:lnTo>
                    <a:lnTo>
                      <a:pt x="1097" y="1257"/>
                    </a:lnTo>
                    <a:lnTo>
                      <a:pt x="1134" y="1236"/>
                    </a:lnTo>
                    <a:lnTo>
                      <a:pt x="1171" y="1214"/>
                    </a:lnTo>
                    <a:lnTo>
                      <a:pt x="1208" y="1192"/>
                    </a:lnTo>
                    <a:lnTo>
                      <a:pt x="1282" y="1147"/>
                    </a:lnTo>
                    <a:lnTo>
                      <a:pt x="1354" y="1100"/>
                    </a:lnTo>
                    <a:lnTo>
                      <a:pt x="1424" y="1053"/>
                    </a:lnTo>
                    <a:lnTo>
                      <a:pt x="1491" y="1006"/>
                    </a:lnTo>
                    <a:lnTo>
                      <a:pt x="1556" y="961"/>
                    </a:lnTo>
                    <a:lnTo>
                      <a:pt x="1617" y="916"/>
                    </a:lnTo>
                    <a:lnTo>
                      <a:pt x="1681" y="868"/>
                    </a:lnTo>
                    <a:lnTo>
                      <a:pt x="1741" y="822"/>
                    </a:lnTo>
                    <a:lnTo>
                      <a:pt x="1797" y="778"/>
                    </a:lnTo>
                    <a:lnTo>
                      <a:pt x="1849" y="737"/>
                    </a:lnTo>
                    <a:lnTo>
                      <a:pt x="1897" y="697"/>
                    </a:lnTo>
                    <a:lnTo>
                      <a:pt x="1940" y="661"/>
                    </a:lnTo>
                    <a:lnTo>
                      <a:pt x="1979" y="627"/>
                    </a:lnTo>
                    <a:lnTo>
                      <a:pt x="2014" y="597"/>
                    </a:lnTo>
                    <a:lnTo>
                      <a:pt x="2071" y="545"/>
                    </a:lnTo>
                    <a:lnTo>
                      <a:pt x="2112" y="507"/>
                    </a:lnTo>
                    <a:lnTo>
                      <a:pt x="2136" y="483"/>
                    </a:lnTo>
                    <a:lnTo>
                      <a:pt x="2144" y="475"/>
                    </a:lnTo>
                    <a:lnTo>
                      <a:pt x="1554" y="0"/>
                    </a:lnTo>
                    <a:lnTo>
                      <a:pt x="93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7" name="Freeform 16"/>
              <p:cNvSpPr>
                <a:spLocks/>
              </p:cNvSpPr>
              <p:nvPr/>
            </p:nvSpPr>
            <p:spPr bwMode="auto">
              <a:xfrm>
                <a:off x="1311275" y="5416550"/>
                <a:ext cx="171450" cy="104775"/>
              </a:xfrm>
              <a:custGeom>
                <a:avLst/>
                <a:gdLst>
                  <a:gd name="T0" fmla="*/ 2147483647 w 2152"/>
                  <a:gd name="T1" fmla="*/ 2147483647 h 1326"/>
                  <a:gd name="T2" fmla="*/ 2147483647 w 2152"/>
                  <a:gd name="T3" fmla="*/ 2147483647 h 1326"/>
                  <a:gd name="T4" fmla="*/ 2147483647 w 2152"/>
                  <a:gd name="T5" fmla="*/ 2147483647 h 1326"/>
                  <a:gd name="T6" fmla="*/ 2147483647 w 2152"/>
                  <a:gd name="T7" fmla="*/ 2147483647 h 1326"/>
                  <a:gd name="T8" fmla="*/ 2147483647 w 2152"/>
                  <a:gd name="T9" fmla="*/ 2147483647 h 1326"/>
                  <a:gd name="T10" fmla="*/ 2147483647 w 2152"/>
                  <a:gd name="T11" fmla="*/ 2147483647 h 1326"/>
                  <a:gd name="T12" fmla="*/ 2147483647 w 2152"/>
                  <a:gd name="T13" fmla="*/ 2147483647 h 1326"/>
                  <a:gd name="T14" fmla="*/ 2147483647 w 2152"/>
                  <a:gd name="T15" fmla="*/ 2147483647 h 1326"/>
                  <a:gd name="T16" fmla="*/ 2147483647 w 2152"/>
                  <a:gd name="T17" fmla="*/ 2147483647 h 1326"/>
                  <a:gd name="T18" fmla="*/ 2147483647 w 2152"/>
                  <a:gd name="T19" fmla="*/ 2147483647 h 1326"/>
                  <a:gd name="T20" fmla="*/ 2147483647 w 2152"/>
                  <a:gd name="T21" fmla="*/ 2147483647 h 1326"/>
                  <a:gd name="T22" fmla="*/ 2147483647 w 2152"/>
                  <a:gd name="T23" fmla="*/ 2147483647 h 1326"/>
                  <a:gd name="T24" fmla="*/ 2147483647 w 2152"/>
                  <a:gd name="T25" fmla="*/ 2147483647 h 1326"/>
                  <a:gd name="T26" fmla="*/ 2147483647 w 2152"/>
                  <a:gd name="T27" fmla="*/ 2147483647 h 1326"/>
                  <a:gd name="T28" fmla="*/ 2147483647 w 2152"/>
                  <a:gd name="T29" fmla="*/ 2147483647 h 1326"/>
                  <a:gd name="T30" fmla="*/ 2147483647 w 2152"/>
                  <a:gd name="T31" fmla="*/ 2147483647 h 1326"/>
                  <a:gd name="T32" fmla="*/ 2147483647 w 2152"/>
                  <a:gd name="T33" fmla="*/ 2147483647 h 1326"/>
                  <a:gd name="T34" fmla="*/ 2147483647 w 2152"/>
                  <a:gd name="T35" fmla="*/ 2147483647 h 1326"/>
                  <a:gd name="T36" fmla="*/ 0 w 2152"/>
                  <a:gd name="T37" fmla="*/ 2147483647 h 1326"/>
                  <a:gd name="T38" fmla="*/ 2147483647 w 2152"/>
                  <a:gd name="T39" fmla="*/ 2147483647 h 1326"/>
                  <a:gd name="T40" fmla="*/ 2147483647 w 2152"/>
                  <a:gd name="T41" fmla="*/ 2147483647 h 1326"/>
                  <a:gd name="T42" fmla="*/ 2147483647 w 2152"/>
                  <a:gd name="T43" fmla="*/ 2147483647 h 1326"/>
                  <a:gd name="T44" fmla="*/ 2147483647 w 2152"/>
                  <a:gd name="T45" fmla="*/ 2147483647 h 1326"/>
                  <a:gd name="T46" fmla="*/ 2147483647 w 2152"/>
                  <a:gd name="T47" fmla="*/ 2147483647 h 1326"/>
                  <a:gd name="T48" fmla="*/ 2147483647 w 2152"/>
                  <a:gd name="T49" fmla="*/ 2147483647 h 1326"/>
                  <a:gd name="T50" fmla="*/ 2147483647 w 2152"/>
                  <a:gd name="T51" fmla="*/ 2147483647 h 1326"/>
                  <a:gd name="T52" fmla="*/ 2147483647 w 2152"/>
                  <a:gd name="T53" fmla="*/ 2147483647 h 1326"/>
                  <a:gd name="T54" fmla="*/ 2147483647 w 2152"/>
                  <a:gd name="T55" fmla="*/ 2147483647 h 1326"/>
                  <a:gd name="T56" fmla="*/ 2147483647 w 2152"/>
                  <a:gd name="T57" fmla="*/ 2147483647 h 1326"/>
                  <a:gd name="T58" fmla="*/ 2147483647 w 2152"/>
                  <a:gd name="T59" fmla="*/ 2147483647 h 1326"/>
                  <a:gd name="T60" fmla="*/ 2147483647 w 2152"/>
                  <a:gd name="T61" fmla="*/ 2147483647 h 1326"/>
                  <a:gd name="T62" fmla="*/ 2147483647 w 2152"/>
                  <a:gd name="T63" fmla="*/ 2147483647 h 1326"/>
                  <a:gd name="T64" fmla="*/ 2147483647 w 2152"/>
                  <a:gd name="T65" fmla="*/ 2147483647 h 1326"/>
                  <a:gd name="T66" fmla="*/ 2147483647 w 2152"/>
                  <a:gd name="T67" fmla="*/ 2147483647 h 1326"/>
                  <a:gd name="T68" fmla="*/ 2147483647 w 2152"/>
                  <a:gd name="T69" fmla="*/ 2147483647 h 1326"/>
                  <a:gd name="T70" fmla="*/ 2147483647 w 2152"/>
                  <a:gd name="T71" fmla="*/ 2147483647 h 1326"/>
                  <a:gd name="T72" fmla="*/ 2147483647 w 2152"/>
                  <a:gd name="T73" fmla="*/ 2147483647 h 1326"/>
                  <a:gd name="T74" fmla="*/ 2147483647 w 2152"/>
                  <a:gd name="T75" fmla="*/ 2147483647 h 1326"/>
                  <a:gd name="T76" fmla="*/ 2147483647 w 2152"/>
                  <a:gd name="T77" fmla="*/ 2147483647 h 1326"/>
                  <a:gd name="T78" fmla="*/ 2147483647 w 2152"/>
                  <a:gd name="T79" fmla="*/ 2147483647 h 1326"/>
                  <a:gd name="T80" fmla="*/ 2147483647 w 2152"/>
                  <a:gd name="T81" fmla="*/ 2147483647 h 1326"/>
                  <a:gd name="T82" fmla="*/ 2147483647 w 2152"/>
                  <a:gd name="T83" fmla="*/ 2147483647 h 1326"/>
                  <a:gd name="T84" fmla="*/ 2147483647 w 2152"/>
                  <a:gd name="T85" fmla="*/ 2147483647 h 1326"/>
                  <a:gd name="T86" fmla="*/ 2147483647 w 2152"/>
                  <a:gd name="T87" fmla="*/ 2147483647 h 1326"/>
                  <a:gd name="T88" fmla="*/ 2147483647 w 2152"/>
                  <a:gd name="T89" fmla="*/ 2147483647 h 1326"/>
                  <a:gd name="T90" fmla="*/ 2147483647 w 2152"/>
                  <a:gd name="T91" fmla="*/ 2147483647 h 1326"/>
                  <a:gd name="T92" fmla="*/ 2147483647 w 2152"/>
                  <a:gd name="T93" fmla="*/ 2147483647 h 1326"/>
                  <a:gd name="T94" fmla="*/ 2147483647 w 2152"/>
                  <a:gd name="T95" fmla="*/ 2147483647 h 1326"/>
                  <a:gd name="T96" fmla="*/ 2147483647 w 2152"/>
                  <a:gd name="T97" fmla="*/ 2147483647 h 1326"/>
                  <a:gd name="T98" fmla="*/ 2147483647 w 2152"/>
                  <a:gd name="T99" fmla="*/ 2147483647 h 1326"/>
                  <a:gd name="T100" fmla="*/ 2147483647 w 2152"/>
                  <a:gd name="T101" fmla="*/ 2147483647 h 1326"/>
                  <a:gd name="T102" fmla="*/ 2147483647 w 2152"/>
                  <a:gd name="T103" fmla="*/ 2147483647 h 1326"/>
                  <a:gd name="T104" fmla="*/ 2147483647 w 2152"/>
                  <a:gd name="T105" fmla="*/ 2147483647 h 1326"/>
                  <a:gd name="T106" fmla="*/ 2147483647 w 2152"/>
                  <a:gd name="T107" fmla="*/ 2147483647 h 13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52"/>
                  <a:gd name="T163" fmla="*/ 0 h 1326"/>
                  <a:gd name="T164" fmla="*/ 2152 w 2152"/>
                  <a:gd name="T165" fmla="*/ 1326 h 13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52" h="1326">
                    <a:moveTo>
                      <a:pt x="827" y="0"/>
                    </a:moveTo>
                    <a:lnTo>
                      <a:pt x="790" y="24"/>
                    </a:lnTo>
                    <a:lnTo>
                      <a:pt x="752" y="50"/>
                    </a:lnTo>
                    <a:lnTo>
                      <a:pt x="713" y="77"/>
                    </a:lnTo>
                    <a:lnTo>
                      <a:pt x="672" y="104"/>
                    </a:lnTo>
                    <a:lnTo>
                      <a:pt x="630" y="132"/>
                    </a:lnTo>
                    <a:lnTo>
                      <a:pt x="585" y="161"/>
                    </a:lnTo>
                    <a:lnTo>
                      <a:pt x="539" y="191"/>
                    </a:lnTo>
                    <a:lnTo>
                      <a:pt x="492" y="219"/>
                    </a:lnTo>
                    <a:lnTo>
                      <a:pt x="444" y="248"/>
                    </a:lnTo>
                    <a:lnTo>
                      <a:pt x="394" y="276"/>
                    </a:lnTo>
                    <a:lnTo>
                      <a:pt x="346" y="304"/>
                    </a:lnTo>
                    <a:lnTo>
                      <a:pt x="298" y="333"/>
                    </a:lnTo>
                    <a:lnTo>
                      <a:pt x="275" y="348"/>
                    </a:lnTo>
                    <a:lnTo>
                      <a:pt x="253" y="363"/>
                    </a:lnTo>
                    <a:lnTo>
                      <a:pt x="232" y="378"/>
                    </a:lnTo>
                    <a:lnTo>
                      <a:pt x="213" y="393"/>
                    </a:lnTo>
                    <a:lnTo>
                      <a:pt x="194" y="409"/>
                    </a:lnTo>
                    <a:lnTo>
                      <a:pt x="177" y="424"/>
                    </a:lnTo>
                    <a:lnTo>
                      <a:pt x="162" y="440"/>
                    </a:lnTo>
                    <a:lnTo>
                      <a:pt x="148" y="457"/>
                    </a:lnTo>
                    <a:lnTo>
                      <a:pt x="132" y="478"/>
                    </a:lnTo>
                    <a:lnTo>
                      <a:pt x="117" y="499"/>
                    </a:lnTo>
                    <a:lnTo>
                      <a:pt x="103" y="522"/>
                    </a:lnTo>
                    <a:lnTo>
                      <a:pt x="90" y="544"/>
                    </a:lnTo>
                    <a:lnTo>
                      <a:pt x="77" y="568"/>
                    </a:lnTo>
                    <a:lnTo>
                      <a:pt x="65" y="592"/>
                    </a:lnTo>
                    <a:lnTo>
                      <a:pt x="54" y="617"/>
                    </a:lnTo>
                    <a:lnTo>
                      <a:pt x="44" y="641"/>
                    </a:lnTo>
                    <a:lnTo>
                      <a:pt x="35" y="666"/>
                    </a:lnTo>
                    <a:lnTo>
                      <a:pt x="27" y="692"/>
                    </a:lnTo>
                    <a:lnTo>
                      <a:pt x="20" y="717"/>
                    </a:lnTo>
                    <a:lnTo>
                      <a:pt x="14" y="743"/>
                    </a:lnTo>
                    <a:lnTo>
                      <a:pt x="9" y="769"/>
                    </a:lnTo>
                    <a:lnTo>
                      <a:pt x="5" y="795"/>
                    </a:lnTo>
                    <a:lnTo>
                      <a:pt x="2" y="821"/>
                    </a:lnTo>
                    <a:lnTo>
                      <a:pt x="0" y="848"/>
                    </a:lnTo>
                    <a:lnTo>
                      <a:pt x="0" y="874"/>
                    </a:lnTo>
                    <a:lnTo>
                      <a:pt x="1" y="900"/>
                    </a:lnTo>
                    <a:lnTo>
                      <a:pt x="3" y="926"/>
                    </a:lnTo>
                    <a:lnTo>
                      <a:pt x="6" y="952"/>
                    </a:lnTo>
                    <a:lnTo>
                      <a:pt x="11" y="978"/>
                    </a:lnTo>
                    <a:lnTo>
                      <a:pt x="17" y="1004"/>
                    </a:lnTo>
                    <a:lnTo>
                      <a:pt x="25" y="1030"/>
                    </a:lnTo>
                    <a:lnTo>
                      <a:pt x="34" y="1054"/>
                    </a:lnTo>
                    <a:lnTo>
                      <a:pt x="44" y="1079"/>
                    </a:lnTo>
                    <a:lnTo>
                      <a:pt x="56" y="1103"/>
                    </a:lnTo>
                    <a:lnTo>
                      <a:pt x="69" y="1127"/>
                    </a:lnTo>
                    <a:lnTo>
                      <a:pt x="85" y="1150"/>
                    </a:lnTo>
                    <a:lnTo>
                      <a:pt x="101" y="1172"/>
                    </a:lnTo>
                    <a:lnTo>
                      <a:pt x="120" y="1194"/>
                    </a:lnTo>
                    <a:lnTo>
                      <a:pt x="140" y="1216"/>
                    </a:lnTo>
                    <a:lnTo>
                      <a:pt x="161" y="1236"/>
                    </a:lnTo>
                    <a:lnTo>
                      <a:pt x="178" y="1250"/>
                    </a:lnTo>
                    <a:lnTo>
                      <a:pt x="195" y="1262"/>
                    </a:lnTo>
                    <a:lnTo>
                      <a:pt x="214" y="1274"/>
                    </a:lnTo>
                    <a:lnTo>
                      <a:pt x="233" y="1284"/>
                    </a:lnTo>
                    <a:lnTo>
                      <a:pt x="253" y="1293"/>
                    </a:lnTo>
                    <a:lnTo>
                      <a:pt x="274" y="1300"/>
                    </a:lnTo>
                    <a:lnTo>
                      <a:pt x="296" y="1307"/>
                    </a:lnTo>
                    <a:lnTo>
                      <a:pt x="319" y="1313"/>
                    </a:lnTo>
                    <a:lnTo>
                      <a:pt x="343" y="1317"/>
                    </a:lnTo>
                    <a:lnTo>
                      <a:pt x="366" y="1321"/>
                    </a:lnTo>
                    <a:lnTo>
                      <a:pt x="391" y="1324"/>
                    </a:lnTo>
                    <a:lnTo>
                      <a:pt x="416" y="1325"/>
                    </a:lnTo>
                    <a:lnTo>
                      <a:pt x="442" y="1326"/>
                    </a:lnTo>
                    <a:lnTo>
                      <a:pt x="468" y="1325"/>
                    </a:lnTo>
                    <a:lnTo>
                      <a:pt x="495" y="1324"/>
                    </a:lnTo>
                    <a:lnTo>
                      <a:pt x="522" y="1322"/>
                    </a:lnTo>
                    <a:lnTo>
                      <a:pt x="549" y="1319"/>
                    </a:lnTo>
                    <a:lnTo>
                      <a:pt x="577" y="1316"/>
                    </a:lnTo>
                    <a:lnTo>
                      <a:pt x="606" y="1311"/>
                    </a:lnTo>
                    <a:lnTo>
                      <a:pt x="635" y="1306"/>
                    </a:lnTo>
                    <a:lnTo>
                      <a:pt x="664" y="1300"/>
                    </a:lnTo>
                    <a:lnTo>
                      <a:pt x="693" y="1293"/>
                    </a:lnTo>
                    <a:lnTo>
                      <a:pt x="722" y="1286"/>
                    </a:lnTo>
                    <a:lnTo>
                      <a:pt x="752" y="1277"/>
                    </a:lnTo>
                    <a:lnTo>
                      <a:pt x="781" y="1269"/>
                    </a:lnTo>
                    <a:lnTo>
                      <a:pt x="811" y="1259"/>
                    </a:lnTo>
                    <a:lnTo>
                      <a:pt x="840" y="1249"/>
                    </a:lnTo>
                    <a:lnTo>
                      <a:pt x="870" y="1239"/>
                    </a:lnTo>
                    <a:lnTo>
                      <a:pt x="899" y="1227"/>
                    </a:lnTo>
                    <a:lnTo>
                      <a:pt x="930" y="1216"/>
                    </a:lnTo>
                    <a:lnTo>
                      <a:pt x="959" y="1204"/>
                    </a:lnTo>
                    <a:lnTo>
                      <a:pt x="988" y="1191"/>
                    </a:lnTo>
                    <a:lnTo>
                      <a:pt x="1021" y="1176"/>
                    </a:lnTo>
                    <a:lnTo>
                      <a:pt x="1052" y="1161"/>
                    </a:lnTo>
                    <a:lnTo>
                      <a:pt x="1083" y="1145"/>
                    </a:lnTo>
                    <a:lnTo>
                      <a:pt x="1112" y="1129"/>
                    </a:lnTo>
                    <a:lnTo>
                      <a:pt x="1141" y="1113"/>
                    </a:lnTo>
                    <a:lnTo>
                      <a:pt x="1169" y="1096"/>
                    </a:lnTo>
                    <a:lnTo>
                      <a:pt x="1195" y="1079"/>
                    </a:lnTo>
                    <a:lnTo>
                      <a:pt x="1220" y="1062"/>
                    </a:lnTo>
                    <a:lnTo>
                      <a:pt x="1337" y="978"/>
                    </a:lnTo>
                    <a:lnTo>
                      <a:pt x="1444" y="900"/>
                    </a:lnTo>
                    <a:lnTo>
                      <a:pt x="1544" y="825"/>
                    </a:lnTo>
                    <a:lnTo>
                      <a:pt x="1636" y="756"/>
                    </a:lnTo>
                    <a:lnTo>
                      <a:pt x="1719" y="691"/>
                    </a:lnTo>
                    <a:lnTo>
                      <a:pt x="1796" y="631"/>
                    </a:lnTo>
                    <a:lnTo>
                      <a:pt x="1865" y="575"/>
                    </a:lnTo>
                    <a:lnTo>
                      <a:pt x="1926" y="525"/>
                    </a:lnTo>
                    <a:lnTo>
                      <a:pt x="1980" y="481"/>
                    </a:lnTo>
                    <a:lnTo>
                      <a:pt x="2026" y="442"/>
                    </a:lnTo>
                    <a:lnTo>
                      <a:pt x="2064" y="408"/>
                    </a:lnTo>
                    <a:lnTo>
                      <a:pt x="2096" y="380"/>
                    </a:lnTo>
                    <a:lnTo>
                      <a:pt x="2120" y="359"/>
                    </a:lnTo>
                    <a:lnTo>
                      <a:pt x="2138" y="343"/>
                    </a:lnTo>
                    <a:lnTo>
                      <a:pt x="2148" y="333"/>
                    </a:lnTo>
                    <a:lnTo>
                      <a:pt x="2152" y="330"/>
                    </a:lnTo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8" name="Freeform 17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79" name="Freeform 18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7" name="Скругленный прямоугольник 44"/>
          <p:cNvSpPr/>
          <p:nvPr/>
        </p:nvSpPr>
        <p:spPr>
          <a:xfrm>
            <a:off x="7038975" y="3683000"/>
            <a:ext cx="1743075" cy="71437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Стационары</a:t>
            </a:r>
          </a:p>
        </p:txBody>
      </p:sp>
      <p:grpSp>
        <p:nvGrpSpPr>
          <p:cNvPr id="54299" name="Группа 85"/>
          <p:cNvGrpSpPr>
            <a:grpSpLocks/>
          </p:cNvGrpSpPr>
          <p:nvPr/>
        </p:nvGrpSpPr>
        <p:grpSpPr bwMode="auto">
          <a:xfrm>
            <a:off x="7113588" y="4183063"/>
            <a:ext cx="682625" cy="387350"/>
            <a:chOff x="2857500" y="4857750"/>
            <a:chExt cx="893763" cy="511175"/>
          </a:xfrm>
        </p:grpSpPr>
        <p:sp>
          <p:nvSpPr>
            <p:cNvPr id="87" name="Полилиния 86"/>
            <p:cNvSpPr>
              <a:spLocks noChangeArrowheads="1"/>
            </p:cNvSpPr>
            <p:nvPr/>
          </p:nvSpPr>
          <p:spPr bwMode="auto">
            <a:xfrm>
              <a:off x="3183827" y="4962499"/>
              <a:ext cx="525866" cy="337291"/>
            </a:xfrm>
            <a:custGeom>
              <a:avLst/>
              <a:gdLst>
                <a:gd name="T0" fmla="*/ 7143 w 526256"/>
                <a:gd name="T1" fmla="*/ 38100 h 338138"/>
                <a:gd name="T2" fmla="*/ 250031 w 526256"/>
                <a:gd name="T3" fmla="*/ 0 h 338138"/>
                <a:gd name="T4" fmla="*/ 526256 w 526256"/>
                <a:gd name="T5" fmla="*/ 85725 h 338138"/>
                <a:gd name="T6" fmla="*/ 521493 w 526256"/>
                <a:gd name="T7" fmla="*/ 290513 h 338138"/>
                <a:gd name="T8" fmla="*/ 481012 w 526256"/>
                <a:gd name="T9" fmla="*/ 309563 h 338138"/>
                <a:gd name="T10" fmla="*/ 473868 w 526256"/>
                <a:gd name="T11" fmla="*/ 311944 h 338138"/>
                <a:gd name="T12" fmla="*/ 450056 w 526256"/>
                <a:gd name="T13" fmla="*/ 311944 h 338138"/>
                <a:gd name="T14" fmla="*/ 340518 w 526256"/>
                <a:gd name="T15" fmla="*/ 297657 h 338138"/>
                <a:gd name="T16" fmla="*/ 319087 w 526256"/>
                <a:gd name="T17" fmla="*/ 288132 h 338138"/>
                <a:gd name="T18" fmla="*/ 319087 w 526256"/>
                <a:gd name="T19" fmla="*/ 285750 h 338138"/>
                <a:gd name="T20" fmla="*/ 297656 w 526256"/>
                <a:gd name="T21" fmla="*/ 297657 h 338138"/>
                <a:gd name="T22" fmla="*/ 283368 w 526256"/>
                <a:gd name="T23" fmla="*/ 307182 h 338138"/>
                <a:gd name="T24" fmla="*/ 276225 w 526256"/>
                <a:gd name="T25" fmla="*/ 311944 h 338138"/>
                <a:gd name="T26" fmla="*/ 261937 w 526256"/>
                <a:gd name="T27" fmla="*/ 321469 h 338138"/>
                <a:gd name="T28" fmla="*/ 221456 w 526256"/>
                <a:gd name="T29" fmla="*/ 335757 h 338138"/>
                <a:gd name="T30" fmla="*/ 207168 w 526256"/>
                <a:gd name="T31" fmla="*/ 338138 h 338138"/>
                <a:gd name="T32" fmla="*/ 76200 w 526256"/>
                <a:gd name="T33" fmla="*/ 335757 h 338138"/>
                <a:gd name="T34" fmla="*/ 66675 w 526256"/>
                <a:gd name="T35" fmla="*/ 333375 h 338138"/>
                <a:gd name="T36" fmla="*/ 57150 w 526256"/>
                <a:gd name="T37" fmla="*/ 328613 h 338138"/>
                <a:gd name="T38" fmla="*/ 26193 w 526256"/>
                <a:gd name="T39" fmla="*/ 326232 h 338138"/>
                <a:gd name="T40" fmla="*/ 11906 w 526256"/>
                <a:gd name="T41" fmla="*/ 321469 h 338138"/>
                <a:gd name="T42" fmla="*/ 4762 w 526256"/>
                <a:gd name="T43" fmla="*/ 319088 h 338138"/>
                <a:gd name="T44" fmla="*/ 0 w 526256"/>
                <a:gd name="T45" fmla="*/ 316707 h 338138"/>
                <a:gd name="T46" fmla="*/ 7143 w 526256"/>
                <a:gd name="T47" fmla="*/ 38100 h 33813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26256"/>
                <a:gd name="T73" fmla="*/ 0 h 338138"/>
                <a:gd name="T74" fmla="*/ 526256 w 526256"/>
                <a:gd name="T75" fmla="*/ 338138 h 33813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26256" h="338138">
                  <a:moveTo>
                    <a:pt x="7143" y="38100"/>
                  </a:moveTo>
                  <a:lnTo>
                    <a:pt x="250031" y="0"/>
                  </a:lnTo>
                  <a:lnTo>
                    <a:pt x="526256" y="85725"/>
                  </a:lnTo>
                  <a:lnTo>
                    <a:pt x="521493" y="290513"/>
                  </a:lnTo>
                  <a:cubicBezTo>
                    <a:pt x="507999" y="296863"/>
                    <a:pt x="494612" y="303443"/>
                    <a:pt x="481012" y="309563"/>
                  </a:cubicBezTo>
                  <a:cubicBezTo>
                    <a:pt x="478723" y="310593"/>
                    <a:pt x="476371" y="311752"/>
                    <a:pt x="473868" y="311944"/>
                  </a:cubicBezTo>
                  <a:cubicBezTo>
                    <a:pt x="465954" y="312553"/>
                    <a:pt x="457993" y="311944"/>
                    <a:pt x="450056" y="311944"/>
                  </a:cubicBezTo>
                  <a:cubicBezTo>
                    <a:pt x="413543" y="307182"/>
                    <a:pt x="376912" y="303256"/>
                    <a:pt x="340518" y="297657"/>
                  </a:cubicBezTo>
                  <a:cubicBezTo>
                    <a:pt x="334949" y="296800"/>
                    <a:pt x="323890" y="292935"/>
                    <a:pt x="319087" y="288132"/>
                  </a:cubicBezTo>
                  <a:lnTo>
                    <a:pt x="319087" y="285750"/>
                  </a:lnTo>
                  <a:cubicBezTo>
                    <a:pt x="311943" y="289719"/>
                    <a:pt x="304664" y="293452"/>
                    <a:pt x="297656" y="297657"/>
                  </a:cubicBezTo>
                  <a:cubicBezTo>
                    <a:pt x="292748" y="300602"/>
                    <a:pt x="288131" y="304007"/>
                    <a:pt x="283368" y="307182"/>
                  </a:cubicBezTo>
                  <a:lnTo>
                    <a:pt x="276225" y="311944"/>
                  </a:lnTo>
                  <a:cubicBezTo>
                    <a:pt x="272880" y="325319"/>
                    <a:pt x="277116" y="321469"/>
                    <a:pt x="261937" y="321469"/>
                  </a:cubicBezTo>
                  <a:cubicBezTo>
                    <a:pt x="248443" y="326232"/>
                    <a:pt x="235146" y="331591"/>
                    <a:pt x="221456" y="335757"/>
                  </a:cubicBezTo>
                  <a:cubicBezTo>
                    <a:pt x="216837" y="337163"/>
                    <a:pt x="211996" y="338138"/>
                    <a:pt x="207168" y="338138"/>
                  </a:cubicBezTo>
                  <a:cubicBezTo>
                    <a:pt x="163505" y="338138"/>
                    <a:pt x="119856" y="336551"/>
                    <a:pt x="76200" y="335757"/>
                  </a:cubicBezTo>
                  <a:cubicBezTo>
                    <a:pt x="73025" y="334963"/>
                    <a:pt x="69739" y="334524"/>
                    <a:pt x="66675" y="333375"/>
                  </a:cubicBezTo>
                  <a:cubicBezTo>
                    <a:pt x="63351" y="332129"/>
                    <a:pt x="60646" y="329230"/>
                    <a:pt x="57150" y="328613"/>
                  </a:cubicBezTo>
                  <a:cubicBezTo>
                    <a:pt x="46958" y="326815"/>
                    <a:pt x="36512" y="327026"/>
                    <a:pt x="26193" y="326232"/>
                  </a:cubicBezTo>
                  <a:lnTo>
                    <a:pt x="11906" y="321469"/>
                  </a:lnTo>
                  <a:cubicBezTo>
                    <a:pt x="9525" y="320675"/>
                    <a:pt x="7007" y="320211"/>
                    <a:pt x="4762" y="319088"/>
                  </a:cubicBezTo>
                  <a:lnTo>
                    <a:pt x="0" y="316707"/>
                  </a:lnTo>
                  <a:lnTo>
                    <a:pt x="7143" y="38100"/>
                  </a:lnTo>
                  <a:close/>
                </a:path>
              </a:pathLst>
            </a:cu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sz="1800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54451" name="Freeform 25"/>
            <p:cNvSpPr>
              <a:spLocks/>
            </p:cNvSpPr>
            <p:nvPr/>
          </p:nvSpPr>
          <p:spPr bwMode="auto">
            <a:xfrm>
              <a:off x="2862263" y="4899025"/>
              <a:ext cx="323850" cy="431800"/>
            </a:xfrm>
            <a:custGeom>
              <a:avLst/>
              <a:gdLst>
                <a:gd name="T0" fmla="*/ 0 w 5917"/>
                <a:gd name="T1" fmla="*/ 2147483647 h 7907"/>
                <a:gd name="T2" fmla="*/ 2147483647 w 5917"/>
                <a:gd name="T3" fmla="*/ 2147483647 h 7907"/>
                <a:gd name="T4" fmla="*/ 2147483647 w 5917"/>
                <a:gd name="T5" fmla="*/ 2147483647 h 7907"/>
                <a:gd name="T6" fmla="*/ 2147483647 w 5917"/>
                <a:gd name="T7" fmla="*/ 2147483647 h 7907"/>
                <a:gd name="T8" fmla="*/ 2147483647 w 5917"/>
                <a:gd name="T9" fmla="*/ 2147483647 h 7907"/>
                <a:gd name="T10" fmla="*/ 2147483647 w 5917"/>
                <a:gd name="T11" fmla="*/ 0 h 7907"/>
                <a:gd name="T12" fmla="*/ 0 w 5917"/>
                <a:gd name="T13" fmla="*/ 2147483647 h 790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17"/>
                <a:gd name="T22" fmla="*/ 0 h 7907"/>
                <a:gd name="T23" fmla="*/ 5917 w 5917"/>
                <a:gd name="T24" fmla="*/ 7907 h 790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17" h="7907">
                  <a:moveTo>
                    <a:pt x="0" y="92"/>
                  </a:moveTo>
                  <a:lnTo>
                    <a:pt x="5050" y="1023"/>
                  </a:lnTo>
                  <a:lnTo>
                    <a:pt x="4957" y="7907"/>
                  </a:lnTo>
                  <a:lnTo>
                    <a:pt x="5732" y="7875"/>
                  </a:lnTo>
                  <a:lnTo>
                    <a:pt x="5917" y="868"/>
                  </a:lnTo>
                  <a:lnTo>
                    <a:pt x="341" y="0"/>
                  </a:lnTo>
                  <a:lnTo>
                    <a:pt x="0" y="92"/>
                  </a:lnTo>
                  <a:close/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2" name="Freeform 26"/>
            <p:cNvSpPr>
              <a:spLocks/>
            </p:cNvSpPr>
            <p:nvPr/>
          </p:nvSpPr>
          <p:spPr bwMode="auto">
            <a:xfrm>
              <a:off x="3427413" y="4857750"/>
              <a:ext cx="323850" cy="433388"/>
            </a:xfrm>
            <a:custGeom>
              <a:avLst/>
              <a:gdLst>
                <a:gd name="T0" fmla="*/ 0 w 5918"/>
                <a:gd name="T1" fmla="*/ 2147483647 h 7906"/>
                <a:gd name="T2" fmla="*/ 2147483647 w 5918"/>
                <a:gd name="T3" fmla="*/ 2147483647 h 7906"/>
                <a:gd name="T4" fmla="*/ 2147483647 w 5918"/>
                <a:gd name="T5" fmla="*/ 2147483647 h 7906"/>
                <a:gd name="T6" fmla="*/ 2147483647 w 5918"/>
                <a:gd name="T7" fmla="*/ 2147483647 h 7906"/>
                <a:gd name="T8" fmla="*/ 2147483647 w 5918"/>
                <a:gd name="T9" fmla="*/ 2147483647 h 7906"/>
                <a:gd name="T10" fmla="*/ 2147483647 w 5918"/>
                <a:gd name="T11" fmla="*/ 0 h 7906"/>
                <a:gd name="T12" fmla="*/ 0 w 5918"/>
                <a:gd name="T13" fmla="*/ 2147483647 h 790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18"/>
                <a:gd name="T22" fmla="*/ 0 h 7906"/>
                <a:gd name="T23" fmla="*/ 5918 w 5918"/>
                <a:gd name="T24" fmla="*/ 7906 h 790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18" h="7906">
                  <a:moveTo>
                    <a:pt x="0" y="93"/>
                  </a:moveTo>
                  <a:lnTo>
                    <a:pt x="5051" y="1023"/>
                  </a:lnTo>
                  <a:lnTo>
                    <a:pt x="4958" y="7906"/>
                  </a:lnTo>
                  <a:lnTo>
                    <a:pt x="5732" y="7876"/>
                  </a:lnTo>
                  <a:lnTo>
                    <a:pt x="5918" y="868"/>
                  </a:lnTo>
                  <a:lnTo>
                    <a:pt x="341" y="0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3" name="Freeform 27"/>
            <p:cNvSpPr>
              <a:spLocks/>
            </p:cNvSpPr>
            <p:nvPr/>
          </p:nvSpPr>
          <p:spPr bwMode="auto">
            <a:xfrm>
              <a:off x="3427413" y="4857750"/>
              <a:ext cx="323850" cy="433388"/>
            </a:xfrm>
            <a:custGeom>
              <a:avLst/>
              <a:gdLst>
                <a:gd name="T0" fmla="*/ 0 w 5918"/>
                <a:gd name="T1" fmla="*/ 2147483647 h 7906"/>
                <a:gd name="T2" fmla="*/ 2147483647 w 5918"/>
                <a:gd name="T3" fmla="*/ 2147483647 h 7906"/>
                <a:gd name="T4" fmla="*/ 2147483647 w 5918"/>
                <a:gd name="T5" fmla="*/ 2147483647 h 7906"/>
                <a:gd name="T6" fmla="*/ 2147483647 w 5918"/>
                <a:gd name="T7" fmla="*/ 2147483647 h 7906"/>
                <a:gd name="T8" fmla="*/ 2147483647 w 5918"/>
                <a:gd name="T9" fmla="*/ 2147483647 h 7906"/>
                <a:gd name="T10" fmla="*/ 2147483647 w 5918"/>
                <a:gd name="T11" fmla="*/ 0 h 7906"/>
                <a:gd name="T12" fmla="*/ 0 w 5918"/>
                <a:gd name="T13" fmla="*/ 2147483647 h 790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18"/>
                <a:gd name="T22" fmla="*/ 0 h 7906"/>
                <a:gd name="T23" fmla="*/ 5918 w 5918"/>
                <a:gd name="T24" fmla="*/ 7906 h 790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18" h="7906">
                  <a:moveTo>
                    <a:pt x="0" y="93"/>
                  </a:moveTo>
                  <a:lnTo>
                    <a:pt x="5051" y="1023"/>
                  </a:lnTo>
                  <a:lnTo>
                    <a:pt x="4958" y="7906"/>
                  </a:lnTo>
                  <a:lnTo>
                    <a:pt x="5732" y="7876"/>
                  </a:lnTo>
                  <a:lnTo>
                    <a:pt x="5918" y="868"/>
                  </a:lnTo>
                  <a:lnTo>
                    <a:pt x="341" y="0"/>
                  </a:lnTo>
                  <a:lnTo>
                    <a:pt x="0" y="93"/>
                  </a:lnTo>
                  <a:close/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4" name="Freeform 28"/>
            <p:cNvSpPr>
              <a:spLocks/>
            </p:cNvSpPr>
            <p:nvPr/>
          </p:nvSpPr>
          <p:spPr bwMode="auto">
            <a:xfrm>
              <a:off x="3182938" y="5049838"/>
              <a:ext cx="500063" cy="73025"/>
            </a:xfrm>
            <a:custGeom>
              <a:avLst/>
              <a:gdLst>
                <a:gd name="T0" fmla="*/ 0 w 9134"/>
                <a:gd name="T1" fmla="*/ 2147483647 h 1330"/>
                <a:gd name="T2" fmla="*/ 2147483647 w 9134"/>
                <a:gd name="T3" fmla="*/ 2147483647 h 1330"/>
                <a:gd name="T4" fmla="*/ 2147483647 w 9134"/>
                <a:gd name="T5" fmla="*/ 2147483647 h 1330"/>
                <a:gd name="T6" fmla="*/ 2147483647 w 9134"/>
                <a:gd name="T7" fmla="*/ 2147483647 h 1330"/>
                <a:gd name="T8" fmla="*/ 2147483647 w 9134"/>
                <a:gd name="T9" fmla="*/ 2147483647 h 1330"/>
                <a:gd name="T10" fmla="*/ 2147483647 w 9134"/>
                <a:gd name="T11" fmla="*/ 2147483647 h 1330"/>
                <a:gd name="T12" fmla="*/ 2147483647 w 9134"/>
                <a:gd name="T13" fmla="*/ 2147483647 h 1330"/>
                <a:gd name="T14" fmla="*/ 2147483647 w 9134"/>
                <a:gd name="T15" fmla="*/ 2147483647 h 1330"/>
                <a:gd name="T16" fmla="*/ 2147483647 w 9134"/>
                <a:gd name="T17" fmla="*/ 2147483647 h 1330"/>
                <a:gd name="T18" fmla="*/ 2147483647 w 9134"/>
                <a:gd name="T19" fmla="*/ 2147483647 h 1330"/>
                <a:gd name="T20" fmla="*/ 2147483647 w 9134"/>
                <a:gd name="T21" fmla="*/ 2147483647 h 1330"/>
                <a:gd name="T22" fmla="*/ 2147483647 w 9134"/>
                <a:gd name="T23" fmla="*/ 2147483647 h 1330"/>
                <a:gd name="T24" fmla="*/ 2147483647 w 9134"/>
                <a:gd name="T25" fmla="*/ 2147483647 h 1330"/>
                <a:gd name="T26" fmla="*/ 2147483647 w 9134"/>
                <a:gd name="T27" fmla="*/ 2147483647 h 1330"/>
                <a:gd name="T28" fmla="*/ 2147483647 w 9134"/>
                <a:gd name="T29" fmla="*/ 2147483647 h 1330"/>
                <a:gd name="T30" fmla="*/ 2147483647 w 9134"/>
                <a:gd name="T31" fmla="*/ 2147483647 h 1330"/>
                <a:gd name="T32" fmla="*/ 2147483647 w 9134"/>
                <a:gd name="T33" fmla="*/ 2147483647 h 1330"/>
                <a:gd name="T34" fmla="*/ 2147483647 w 9134"/>
                <a:gd name="T35" fmla="*/ 2147483647 h 1330"/>
                <a:gd name="T36" fmla="*/ 2147483647 w 9134"/>
                <a:gd name="T37" fmla="*/ 2147483647 h 1330"/>
                <a:gd name="T38" fmla="*/ 2147483647 w 9134"/>
                <a:gd name="T39" fmla="*/ 2147483647 h 1330"/>
                <a:gd name="T40" fmla="*/ 2147483647 w 9134"/>
                <a:gd name="T41" fmla="*/ 2147483647 h 1330"/>
                <a:gd name="T42" fmla="*/ 2147483647 w 9134"/>
                <a:gd name="T43" fmla="*/ 2147483647 h 1330"/>
                <a:gd name="T44" fmla="*/ 2147483647 w 9134"/>
                <a:gd name="T45" fmla="*/ 2147483647 h 1330"/>
                <a:gd name="T46" fmla="*/ 2147483647 w 9134"/>
                <a:gd name="T47" fmla="*/ 2147483647 h 1330"/>
                <a:gd name="T48" fmla="*/ 2147483647 w 9134"/>
                <a:gd name="T49" fmla="*/ 2147483647 h 1330"/>
                <a:gd name="T50" fmla="*/ 2147483647 w 9134"/>
                <a:gd name="T51" fmla="*/ 2147483647 h 1330"/>
                <a:gd name="T52" fmla="*/ 2147483647 w 9134"/>
                <a:gd name="T53" fmla="*/ 2147483647 h 1330"/>
                <a:gd name="T54" fmla="*/ 2147483647 w 9134"/>
                <a:gd name="T55" fmla="*/ 2147483647 h 1330"/>
                <a:gd name="T56" fmla="*/ 2147483647 w 9134"/>
                <a:gd name="T57" fmla="*/ 2147483647 h 1330"/>
                <a:gd name="T58" fmla="*/ 2147483647 w 9134"/>
                <a:gd name="T59" fmla="*/ 0 h 1330"/>
                <a:gd name="T60" fmla="*/ 2147483647 w 9134"/>
                <a:gd name="T61" fmla="*/ 2147483647 h 133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134"/>
                <a:gd name="T94" fmla="*/ 0 h 1330"/>
                <a:gd name="T95" fmla="*/ 9134 w 9134"/>
                <a:gd name="T96" fmla="*/ 1330 h 133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134" h="1330">
                  <a:moveTo>
                    <a:pt x="0" y="1291"/>
                  </a:moveTo>
                  <a:lnTo>
                    <a:pt x="285" y="1314"/>
                  </a:lnTo>
                  <a:lnTo>
                    <a:pt x="571" y="1328"/>
                  </a:lnTo>
                  <a:lnTo>
                    <a:pt x="860" y="1330"/>
                  </a:lnTo>
                  <a:lnTo>
                    <a:pt x="1151" y="1323"/>
                  </a:lnTo>
                  <a:lnTo>
                    <a:pt x="1444" y="1306"/>
                  </a:lnTo>
                  <a:lnTo>
                    <a:pt x="1739" y="1281"/>
                  </a:lnTo>
                  <a:lnTo>
                    <a:pt x="2035" y="1248"/>
                  </a:lnTo>
                  <a:lnTo>
                    <a:pt x="2332" y="1208"/>
                  </a:lnTo>
                  <a:lnTo>
                    <a:pt x="2630" y="1162"/>
                  </a:lnTo>
                  <a:lnTo>
                    <a:pt x="2928" y="1111"/>
                  </a:lnTo>
                  <a:lnTo>
                    <a:pt x="3226" y="1054"/>
                  </a:lnTo>
                  <a:lnTo>
                    <a:pt x="3525" y="994"/>
                  </a:lnTo>
                  <a:lnTo>
                    <a:pt x="3824" y="929"/>
                  </a:lnTo>
                  <a:lnTo>
                    <a:pt x="4122" y="863"/>
                  </a:lnTo>
                  <a:lnTo>
                    <a:pt x="4419" y="794"/>
                  </a:lnTo>
                  <a:lnTo>
                    <a:pt x="4715" y="724"/>
                  </a:lnTo>
                  <a:lnTo>
                    <a:pt x="5304" y="582"/>
                  </a:lnTo>
                  <a:lnTo>
                    <a:pt x="5887" y="444"/>
                  </a:lnTo>
                  <a:lnTo>
                    <a:pt x="6176" y="379"/>
                  </a:lnTo>
                  <a:lnTo>
                    <a:pt x="6461" y="316"/>
                  </a:lnTo>
                  <a:lnTo>
                    <a:pt x="6745" y="256"/>
                  </a:lnTo>
                  <a:lnTo>
                    <a:pt x="7025" y="201"/>
                  </a:lnTo>
                  <a:lnTo>
                    <a:pt x="7302" y="151"/>
                  </a:lnTo>
                  <a:lnTo>
                    <a:pt x="7576" y="107"/>
                  </a:lnTo>
                  <a:lnTo>
                    <a:pt x="7846" y="71"/>
                  </a:lnTo>
                  <a:lnTo>
                    <a:pt x="8113" y="40"/>
                  </a:lnTo>
                  <a:lnTo>
                    <a:pt x="8375" y="17"/>
                  </a:lnTo>
                  <a:lnTo>
                    <a:pt x="8632" y="4"/>
                  </a:lnTo>
                  <a:lnTo>
                    <a:pt x="8885" y="0"/>
                  </a:lnTo>
                  <a:lnTo>
                    <a:pt x="9134" y="6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5" name="Line 29"/>
            <p:cNvSpPr>
              <a:spLocks noChangeShapeType="1"/>
            </p:cNvSpPr>
            <p:nvPr/>
          </p:nvSpPr>
          <p:spPr bwMode="auto">
            <a:xfrm flipH="1" flipV="1">
              <a:off x="3659188" y="5275263"/>
              <a:ext cx="38100" cy="14288"/>
            </a:xfrm>
            <a:prstGeom prst="line">
              <a:avLst/>
            </a:pr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6" name="Freeform 30"/>
            <p:cNvSpPr>
              <a:spLocks/>
            </p:cNvSpPr>
            <p:nvPr/>
          </p:nvSpPr>
          <p:spPr bwMode="auto">
            <a:xfrm>
              <a:off x="2863850" y="4897438"/>
              <a:ext cx="323850" cy="434975"/>
            </a:xfrm>
            <a:custGeom>
              <a:avLst/>
              <a:gdLst>
                <a:gd name="T0" fmla="*/ 2147483647 w 5930"/>
                <a:gd name="T1" fmla="*/ 2147483647 h 7934"/>
                <a:gd name="T2" fmla="*/ 2147483647 w 5930"/>
                <a:gd name="T3" fmla="*/ 2147483647 h 7934"/>
                <a:gd name="T4" fmla="*/ 2147483647 w 5930"/>
                <a:gd name="T5" fmla="*/ 2147483647 h 7934"/>
                <a:gd name="T6" fmla="*/ 2147483647 w 5930"/>
                <a:gd name="T7" fmla="*/ 2147483647 h 7934"/>
                <a:gd name="T8" fmla="*/ 2147483647 w 5930"/>
                <a:gd name="T9" fmla="*/ 0 h 7934"/>
                <a:gd name="T10" fmla="*/ 0 w 5930"/>
                <a:gd name="T11" fmla="*/ 2147483647 h 7934"/>
                <a:gd name="T12" fmla="*/ 2147483647 w 5930"/>
                <a:gd name="T13" fmla="*/ 2147483647 h 79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30"/>
                <a:gd name="T22" fmla="*/ 0 h 7934"/>
                <a:gd name="T23" fmla="*/ 5930 w 5930"/>
                <a:gd name="T24" fmla="*/ 7934 h 79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30" h="7934">
                  <a:moveTo>
                    <a:pt x="4992" y="1070"/>
                  </a:moveTo>
                  <a:lnTo>
                    <a:pt x="4912" y="7934"/>
                  </a:lnTo>
                  <a:lnTo>
                    <a:pt x="5736" y="7901"/>
                  </a:lnTo>
                  <a:lnTo>
                    <a:pt x="5930" y="908"/>
                  </a:lnTo>
                  <a:lnTo>
                    <a:pt x="339" y="0"/>
                  </a:lnTo>
                  <a:lnTo>
                    <a:pt x="0" y="98"/>
                  </a:lnTo>
                  <a:lnTo>
                    <a:pt x="4992" y="1070"/>
                  </a:lnTo>
                  <a:close/>
                </a:path>
              </a:pathLst>
            </a:custGeom>
            <a:solidFill>
              <a:srgbClr val="DEDE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7" name="Freeform 31"/>
            <p:cNvSpPr>
              <a:spLocks/>
            </p:cNvSpPr>
            <p:nvPr/>
          </p:nvSpPr>
          <p:spPr bwMode="auto">
            <a:xfrm>
              <a:off x="2863850" y="4897438"/>
              <a:ext cx="323850" cy="434975"/>
            </a:xfrm>
            <a:custGeom>
              <a:avLst/>
              <a:gdLst>
                <a:gd name="T0" fmla="*/ 2147483647 w 5930"/>
                <a:gd name="T1" fmla="*/ 2147483647 h 7934"/>
                <a:gd name="T2" fmla="*/ 2147483647 w 5930"/>
                <a:gd name="T3" fmla="*/ 2147483647 h 7934"/>
                <a:gd name="T4" fmla="*/ 2147483647 w 5930"/>
                <a:gd name="T5" fmla="*/ 2147483647 h 7934"/>
                <a:gd name="T6" fmla="*/ 2147483647 w 5930"/>
                <a:gd name="T7" fmla="*/ 2147483647 h 7934"/>
                <a:gd name="T8" fmla="*/ 2147483647 w 5930"/>
                <a:gd name="T9" fmla="*/ 0 h 7934"/>
                <a:gd name="T10" fmla="*/ 0 w 5930"/>
                <a:gd name="T11" fmla="*/ 2147483647 h 7934"/>
                <a:gd name="T12" fmla="*/ 2147483647 w 5930"/>
                <a:gd name="T13" fmla="*/ 2147483647 h 79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30"/>
                <a:gd name="T22" fmla="*/ 0 h 7934"/>
                <a:gd name="T23" fmla="*/ 5930 w 5930"/>
                <a:gd name="T24" fmla="*/ 7934 h 79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30" h="7934">
                  <a:moveTo>
                    <a:pt x="4992" y="1070"/>
                  </a:moveTo>
                  <a:lnTo>
                    <a:pt x="4912" y="7934"/>
                  </a:lnTo>
                  <a:lnTo>
                    <a:pt x="5736" y="7901"/>
                  </a:lnTo>
                  <a:lnTo>
                    <a:pt x="5930" y="908"/>
                  </a:lnTo>
                  <a:lnTo>
                    <a:pt x="339" y="0"/>
                  </a:lnTo>
                  <a:lnTo>
                    <a:pt x="0" y="98"/>
                  </a:lnTo>
                  <a:lnTo>
                    <a:pt x="4992" y="1070"/>
                  </a:lnTo>
                  <a:close/>
                </a:path>
              </a:pathLst>
            </a:custGeom>
            <a:solidFill>
              <a:schemeClr val="tx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458" name="Freeform 32"/>
            <p:cNvSpPr>
              <a:spLocks/>
            </p:cNvSpPr>
            <p:nvPr/>
          </p:nvSpPr>
          <p:spPr bwMode="auto">
            <a:xfrm>
              <a:off x="3190875" y="4962525"/>
              <a:ext cx="512763" cy="87313"/>
            </a:xfrm>
            <a:custGeom>
              <a:avLst/>
              <a:gdLst>
                <a:gd name="T0" fmla="*/ 0 w 9374"/>
                <a:gd name="T1" fmla="*/ 2147483647 h 1592"/>
                <a:gd name="T2" fmla="*/ 2147483647 w 9374"/>
                <a:gd name="T3" fmla="*/ 0 h 1592"/>
                <a:gd name="T4" fmla="*/ 2147483647 w 9374"/>
                <a:gd name="T5" fmla="*/ 2147483647 h 1592"/>
                <a:gd name="T6" fmla="*/ 0 60000 65536"/>
                <a:gd name="T7" fmla="*/ 0 60000 65536"/>
                <a:gd name="T8" fmla="*/ 0 60000 65536"/>
                <a:gd name="T9" fmla="*/ 0 w 9374"/>
                <a:gd name="T10" fmla="*/ 0 h 1592"/>
                <a:gd name="T11" fmla="*/ 9374 w 9374"/>
                <a:gd name="T12" fmla="*/ 1592 h 159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374" h="1592">
                  <a:moveTo>
                    <a:pt x="0" y="739"/>
                  </a:moveTo>
                  <a:lnTo>
                    <a:pt x="4658" y="0"/>
                  </a:lnTo>
                  <a:lnTo>
                    <a:pt x="9374" y="1592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59" name="Line 33"/>
            <p:cNvSpPr>
              <a:spLocks noChangeShapeType="1"/>
            </p:cNvSpPr>
            <p:nvPr/>
          </p:nvSpPr>
          <p:spPr bwMode="auto">
            <a:xfrm>
              <a:off x="3427413" y="4867275"/>
              <a:ext cx="3175" cy="101600"/>
            </a:xfrm>
            <a:prstGeom prst="line">
              <a:avLst/>
            </a:pr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60" name="Freeform 34"/>
            <p:cNvSpPr>
              <a:spLocks/>
            </p:cNvSpPr>
            <p:nvPr/>
          </p:nvSpPr>
          <p:spPr bwMode="auto">
            <a:xfrm>
              <a:off x="2857500" y="4903788"/>
              <a:ext cx="273050" cy="427038"/>
            </a:xfrm>
            <a:custGeom>
              <a:avLst/>
              <a:gdLst>
                <a:gd name="T0" fmla="*/ 2147483647 w 4995"/>
                <a:gd name="T1" fmla="*/ 0 h 7805"/>
                <a:gd name="T2" fmla="*/ 0 w 4995"/>
                <a:gd name="T3" fmla="*/ 2147483647 h 7805"/>
                <a:gd name="T4" fmla="*/ 2147483647 w 4995"/>
                <a:gd name="T5" fmla="*/ 2147483647 h 7805"/>
                <a:gd name="T6" fmla="*/ 0 60000 65536"/>
                <a:gd name="T7" fmla="*/ 0 60000 65536"/>
                <a:gd name="T8" fmla="*/ 0 60000 65536"/>
                <a:gd name="T9" fmla="*/ 0 w 4995"/>
                <a:gd name="T10" fmla="*/ 0 h 7805"/>
                <a:gd name="T11" fmla="*/ 4995 w 4995"/>
                <a:gd name="T12" fmla="*/ 7805 h 780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995" h="7805">
                  <a:moveTo>
                    <a:pt x="93" y="0"/>
                  </a:moveTo>
                  <a:lnTo>
                    <a:pt x="0" y="5639"/>
                  </a:lnTo>
                  <a:lnTo>
                    <a:pt x="4995" y="7805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61" name="Freeform 35"/>
            <p:cNvSpPr>
              <a:spLocks/>
            </p:cNvSpPr>
            <p:nvPr/>
          </p:nvSpPr>
          <p:spPr bwMode="auto">
            <a:xfrm>
              <a:off x="3181350" y="4964113"/>
              <a:ext cx="520700" cy="338138"/>
            </a:xfrm>
            <a:custGeom>
              <a:avLst/>
              <a:gdLst>
                <a:gd name="T0" fmla="*/ 2147483647 w 9528"/>
                <a:gd name="T1" fmla="*/ 2147483647 h 6192"/>
                <a:gd name="T2" fmla="*/ 2147483647 w 9528"/>
                <a:gd name="T3" fmla="*/ 2147483647 h 6192"/>
                <a:gd name="T4" fmla="*/ 2147483647 w 9528"/>
                <a:gd name="T5" fmla="*/ 2147483647 h 6192"/>
                <a:gd name="T6" fmla="*/ 2147483647 w 9528"/>
                <a:gd name="T7" fmla="*/ 2147483647 h 6192"/>
                <a:gd name="T8" fmla="*/ 2147483647 w 9528"/>
                <a:gd name="T9" fmla="*/ 2147483647 h 6192"/>
                <a:gd name="T10" fmla="*/ 2147483647 w 9528"/>
                <a:gd name="T11" fmla="*/ 2147483647 h 6192"/>
                <a:gd name="T12" fmla="*/ 2147483647 w 9528"/>
                <a:gd name="T13" fmla="*/ 2147483647 h 6192"/>
                <a:gd name="T14" fmla="*/ 2147483647 w 9528"/>
                <a:gd name="T15" fmla="*/ 2147483647 h 6192"/>
                <a:gd name="T16" fmla="*/ 2147483647 w 9528"/>
                <a:gd name="T17" fmla="*/ 2147483647 h 6192"/>
                <a:gd name="T18" fmla="*/ 2147483647 w 9528"/>
                <a:gd name="T19" fmla="*/ 2147483647 h 6192"/>
                <a:gd name="T20" fmla="*/ 2147483647 w 9528"/>
                <a:gd name="T21" fmla="*/ 2147483647 h 6192"/>
                <a:gd name="T22" fmla="*/ 2147483647 w 9528"/>
                <a:gd name="T23" fmla="*/ 2147483647 h 6192"/>
                <a:gd name="T24" fmla="*/ 2147483647 w 9528"/>
                <a:gd name="T25" fmla="*/ 2147483647 h 6192"/>
                <a:gd name="T26" fmla="*/ 2147483647 w 9528"/>
                <a:gd name="T27" fmla="*/ 2147483647 h 6192"/>
                <a:gd name="T28" fmla="*/ 2147483647 w 9528"/>
                <a:gd name="T29" fmla="*/ 2147483647 h 6192"/>
                <a:gd name="T30" fmla="*/ 2147483647 w 9528"/>
                <a:gd name="T31" fmla="*/ 2147483647 h 6192"/>
                <a:gd name="T32" fmla="*/ 2147483647 w 9528"/>
                <a:gd name="T33" fmla="*/ 2147483647 h 6192"/>
                <a:gd name="T34" fmla="*/ 2147483647 w 9528"/>
                <a:gd name="T35" fmla="*/ 2147483647 h 6192"/>
                <a:gd name="T36" fmla="*/ 2147483647 w 9528"/>
                <a:gd name="T37" fmla="*/ 2147483647 h 6192"/>
                <a:gd name="T38" fmla="*/ 2147483647 w 9528"/>
                <a:gd name="T39" fmla="*/ 2147483647 h 6192"/>
                <a:gd name="T40" fmla="*/ 2147483647 w 9528"/>
                <a:gd name="T41" fmla="*/ 2147483647 h 6192"/>
                <a:gd name="T42" fmla="*/ 2147483647 w 9528"/>
                <a:gd name="T43" fmla="*/ 2147483647 h 6192"/>
                <a:gd name="T44" fmla="*/ 2147483647 w 9528"/>
                <a:gd name="T45" fmla="*/ 2147483647 h 6192"/>
                <a:gd name="T46" fmla="*/ 2147483647 w 9528"/>
                <a:gd name="T47" fmla="*/ 2147483647 h 6192"/>
                <a:gd name="T48" fmla="*/ 2147483647 w 9528"/>
                <a:gd name="T49" fmla="*/ 2147483647 h 6192"/>
                <a:gd name="T50" fmla="*/ 2147483647 w 9528"/>
                <a:gd name="T51" fmla="*/ 2147483647 h 6192"/>
                <a:gd name="T52" fmla="*/ 2147483647 w 9528"/>
                <a:gd name="T53" fmla="*/ 2147483647 h 6192"/>
                <a:gd name="T54" fmla="*/ 2147483647 w 9528"/>
                <a:gd name="T55" fmla="*/ 2147483647 h 6192"/>
                <a:gd name="T56" fmla="*/ 2147483647 w 9528"/>
                <a:gd name="T57" fmla="*/ 2147483647 h 6192"/>
                <a:gd name="T58" fmla="*/ 2147483647 w 9528"/>
                <a:gd name="T59" fmla="*/ 2147483647 h 6192"/>
                <a:gd name="T60" fmla="*/ 2147483647 w 9528"/>
                <a:gd name="T61" fmla="*/ 2147483647 h 6192"/>
                <a:gd name="T62" fmla="*/ 2147483647 w 9528"/>
                <a:gd name="T63" fmla="*/ 2147483647 h 6192"/>
                <a:gd name="T64" fmla="*/ 2147483647 w 9528"/>
                <a:gd name="T65" fmla="*/ 2147483647 h 6192"/>
                <a:gd name="T66" fmla="*/ 2147483647 w 9528"/>
                <a:gd name="T67" fmla="*/ 2147483647 h 6192"/>
                <a:gd name="T68" fmla="*/ 2147483647 w 9528"/>
                <a:gd name="T69" fmla="*/ 2147483647 h 6192"/>
                <a:gd name="T70" fmla="*/ 2147483647 w 9528"/>
                <a:gd name="T71" fmla="*/ 2147483647 h 6192"/>
                <a:gd name="T72" fmla="*/ 2147483647 w 9528"/>
                <a:gd name="T73" fmla="*/ 2147483647 h 6192"/>
                <a:gd name="T74" fmla="*/ 2147483647 w 9528"/>
                <a:gd name="T75" fmla="*/ 2147483647 h 6192"/>
                <a:gd name="T76" fmla="*/ 2147483647 w 9528"/>
                <a:gd name="T77" fmla="*/ 2147483647 h 6192"/>
                <a:gd name="T78" fmla="*/ 2147483647 w 9528"/>
                <a:gd name="T79" fmla="*/ 2147483647 h 6192"/>
                <a:gd name="T80" fmla="*/ 2147483647 w 9528"/>
                <a:gd name="T81" fmla="*/ 2147483647 h 6192"/>
                <a:gd name="T82" fmla="*/ 2147483647 w 9528"/>
                <a:gd name="T83" fmla="*/ 2147483647 h 6192"/>
                <a:gd name="T84" fmla="*/ 2147483647 w 9528"/>
                <a:gd name="T85" fmla="*/ 2147483647 h 6192"/>
                <a:gd name="T86" fmla="*/ 2147483647 w 9528"/>
                <a:gd name="T87" fmla="*/ 2147483647 h 6192"/>
                <a:gd name="T88" fmla="*/ 2147483647 w 9528"/>
                <a:gd name="T89" fmla="*/ 2147483647 h 6192"/>
                <a:gd name="T90" fmla="*/ 2147483647 w 9528"/>
                <a:gd name="T91" fmla="*/ 2147483647 h 6192"/>
                <a:gd name="T92" fmla="*/ 2147483647 w 9528"/>
                <a:gd name="T93" fmla="*/ 2147483647 h 6192"/>
                <a:gd name="T94" fmla="*/ 2147483647 w 9528"/>
                <a:gd name="T95" fmla="*/ 2147483647 h 6192"/>
                <a:gd name="T96" fmla="*/ 2147483647 w 9528"/>
                <a:gd name="T97" fmla="*/ 2147483647 h 6192"/>
                <a:gd name="T98" fmla="*/ 2147483647 w 9528"/>
                <a:gd name="T99" fmla="*/ 2147483647 h 6192"/>
                <a:gd name="T100" fmla="*/ 2147483647 w 9528"/>
                <a:gd name="T101" fmla="*/ 2147483647 h 6192"/>
                <a:gd name="T102" fmla="*/ 2147483647 w 9528"/>
                <a:gd name="T103" fmla="*/ 2147483647 h 6192"/>
                <a:gd name="T104" fmla="*/ 2147483647 w 9528"/>
                <a:gd name="T105" fmla="*/ 2147483647 h 6192"/>
                <a:gd name="T106" fmla="*/ 2147483647 w 9528"/>
                <a:gd name="T107" fmla="*/ 2147483647 h 6192"/>
                <a:gd name="T108" fmla="*/ 2147483647 w 9528"/>
                <a:gd name="T109" fmla="*/ 2147483647 h 6192"/>
                <a:gd name="T110" fmla="*/ 2147483647 w 9528"/>
                <a:gd name="T111" fmla="*/ 2147483647 h 6192"/>
                <a:gd name="T112" fmla="*/ 2147483647 w 9528"/>
                <a:gd name="T113" fmla="*/ 2147483647 h 6192"/>
                <a:gd name="T114" fmla="*/ 2147483647 w 9528"/>
                <a:gd name="T115" fmla="*/ 2147483647 h 6192"/>
                <a:gd name="T116" fmla="*/ 2147483647 w 9528"/>
                <a:gd name="T117" fmla="*/ 2147483647 h 6192"/>
                <a:gd name="T118" fmla="*/ 2147483647 w 9528"/>
                <a:gd name="T119" fmla="*/ 0 h 61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28"/>
                <a:gd name="T181" fmla="*/ 0 h 6192"/>
                <a:gd name="T182" fmla="*/ 9528 w 9528"/>
                <a:gd name="T183" fmla="*/ 6192 h 61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28" h="6192">
                  <a:moveTo>
                    <a:pt x="0" y="6010"/>
                  </a:moveTo>
                  <a:lnTo>
                    <a:pt x="47" y="6015"/>
                  </a:lnTo>
                  <a:lnTo>
                    <a:pt x="179" y="6029"/>
                  </a:lnTo>
                  <a:lnTo>
                    <a:pt x="386" y="6049"/>
                  </a:lnTo>
                  <a:lnTo>
                    <a:pt x="656" y="6074"/>
                  </a:lnTo>
                  <a:lnTo>
                    <a:pt x="813" y="6086"/>
                  </a:lnTo>
                  <a:lnTo>
                    <a:pt x="980" y="6100"/>
                  </a:lnTo>
                  <a:lnTo>
                    <a:pt x="1158" y="6113"/>
                  </a:lnTo>
                  <a:lnTo>
                    <a:pt x="1345" y="6127"/>
                  </a:lnTo>
                  <a:lnTo>
                    <a:pt x="1540" y="6139"/>
                  </a:lnTo>
                  <a:lnTo>
                    <a:pt x="1740" y="6151"/>
                  </a:lnTo>
                  <a:lnTo>
                    <a:pt x="1946" y="6162"/>
                  </a:lnTo>
                  <a:lnTo>
                    <a:pt x="2156" y="6172"/>
                  </a:lnTo>
                  <a:lnTo>
                    <a:pt x="2368" y="6180"/>
                  </a:lnTo>
                  <a:lnTo>
                    <a:pt x="2580" y="6186"/>
                  </a:lnTo>
                  <a:lnTo>
                    <a:pt x="2792" y="6190"/>
                  </a:lnTo>
                  <a:lnTo>
                    <a:pt x="3001" y="6192"/>
                  </a:lnTo>
                  <a:lnTo>
                    <a:pt x="3209" y="6191"/>
                  </a:lnTo>
                  <a:lnTo>
                    <a:pt x="3411" y="6188"/>
                  </a:lnTo>
                  <a:lnTo>
                    <a:pt x="3606" y="6181"/>
                  </a:lnTo>
                  <a:lnTo>
                    <a:pt x="3794" y="6172"/>
                  </a:lnTo>
                  <a:lnTo>
                    <a:pt x="3974" y="6157"/>
                  </a:lnTo>
                  <a:lnTo>
                    <a:pt x="4143" y="6140"/>
                  </a:lnTo>
                  <a:lnTo>
                    <a:pt x="4301" y="6118"/>
                  </a:lnTo>
                  <a:lnTo>
                    <a:pt x="4446" y="6092"/>
                  </a:lnTo>
                  <a:lnTo>
                    <a:pt x="4577" y="6061"/>
                  </a:lnTo>
                  <a:lnTo>
                    <a:pt x="4692" y="6025"/>
                  </a:lnTo>
                  <a:lnTo>
                    <a:pt x="4789" y="5984"/>
                  </a:lnTo>
                  <a:lnTo>
                    <a:pt x="4869" y="5938"/>
                  </a:lnTo>
                  <a:lnTo>
                    <a:pt x="4936" y="5889"/>
                  </a:lnTo>
                  <a:lnTo>
                    <a:pt x="5000" y="5841"/>
                  </a:lnTo>
                  <a:lnTo>
                    <a:pt x="5060" y="5794"/>
                  </a:lnTo>
                  <a:lnTo>
                    <a:pt x="5116" y="5748"/>
                  </a:lnTo>
                  <a:lnTo>
                    <a:pt x="5169" y="5704"/>
                  </a:lnTo>
                  <a:lnTo>
                    <a:pt x="5219" y="5661"/>
                  </a:lnTo>
                  <a:lnTo>
                    <a:pt x="5267" y="5620"/>
                  </a:lnTo>
                  <a:lnTo>
                    <a:pt x="5312" y="5580"/>
                  </a:lnTo>
                  <a:lnTo>
                    <a:pt x="5354" y="5542"/>
                  </a:lnTo>
                  <a:lnTo>
                    <a:pt x="5395" y="5507"/>
                  </a:lnTo>
                  <a:lnTo>
                    <a:pt x="5435" y="5473"/>
                  </a:lnTo>
                  <a:lnTo>
                    <a:pt x="5474" y="5440"/>
                  </a:lnTo>
                  <a:lnTo>
                    <a:pt x="5511" y="5411"/>
                  </a:lnTo>
                  <a:lnTo>
                    <a:pt x="5547" y="5384"/>
                  </a:lnTo>
                  <a:lnTo>
                    <a:pt x="5584" y="5359"/>
                  </a:lnTo>
                  <a:lnTo>
                    <a:pt x="5620" y="5336"/>
                  </a:lnTo>
                  <a:lnTo>
                    <a:pt x="5657" y="5317"/>
                  </a:lnTo>
                  <a:lnTo>
                    <a:pt x="5693" y="5299"/>
                  </a:lnTo>
                  <a:lnTo>
                    <a:pt x="5731" y="5285"/>
                  </a:lnTo>
                  <a:lnTo>
                    <a:pt x="5770" y="5275"/>
                  </a:lnTo>
                  <a:lnTo>
                    <a:pt x="5810" y="5267"/>
                  </a:lnTo>
                  <a:lnTo>
                    <a:pt x="5851" y="5262"/>
                  </a:lnTo>
                  <a:lnTo>
                    <a:pt x="5895" y="5260"/>
                  </a:lnTo>
                  <a:lnTo>
                    <a:pt x="5941" y="5262"/>
                  </a:lnTo>
                  <a:lnTo>
                    <a:pt x="5989" y="5267"/>
                  </a:lnTo>
                  <a:lnTo>
                    <a:pt x="6040" y="5276"/>
                  </a:lnTo>
                  <a:lnTo>
                    <a:pt x="6093" y="5288"/>
                  </a:lnTo>
                  <a:lnTo>
                    <a:pt x="6150" y="5305"/>
                  </a:lnTo>
                  <a:lnTo>
                    <a:pt x="6212" y="5325"/>
                  </a:lnTo>
                  <a:lnTo>
                    <a:pt x="6276" y="5348"/>
                  </a:lnTo>
                  <a:lnTo>
                    <a:pt x="6345" y="5377"/>
                  </a:lnTo>
                  <a:lnTo>
                    <a:pt x="6418" y="5410"/>
                  </a:lnTo>
                  <a:lnTo>
                    <a:pt x="6496" y="5444"/>
                  </a:lnTo>
                  <a:lnTo>
                    <a:pt x="6580" y="5476"/>
                  </a:lnTo>
                  <a:lnTo>
                    <a:pt x="6670" y="5506"/>
                  </a:lnTo>
                  <a:lnTo>
                    <a:pt x="6763" y="5533"/>
                  </a:lnTo>
                  <a:lnTo>
                    <a:pt x="6861" y="5559"/>
                  </a:lnTo>
                  <a:lnTo>
                    <a:pt x="6962" y="5582"/>
                  </a:lnTo>
                  <a:lnTo>
                    <a:pt x="7067" y="5604"/>
                  </a:lnTo>
                  <a:lnTo>
                    <a:pt x="7174" y="5623"/>
                  </a:lnTo>
                  <a:lnTo>
                    <a:pt x="7283" y="5641"/>
                  </a:lnTo>
                  <a:lnTo>
                    <a:pt x="7394" y="5656"/>
                  </a:lnTo>
                  <a:lnTo>
                    <a:pt x="7508" y="5668"/>
                  </a:lnTo>
                  <a:lnTo>
                    <a:pt x="7621" y="5679"/>
                  </a:lnTo>
                  <a:lnTo>
                    <a:pt x="7734" y="5689"/>
                  </a:lnTo>
                  <a:lnTo>
                    <a:pt x="7848" y="5696"/>
                  </a:lnTo>
                  <a:lnTo>
                    <a:pt x="7962" y="5700"/>
                  </a:lnTo>
                  <a:lnTo>
                    <a:pt x="8074" y="5703"/>
                  </a:lnTo>
                  <a:lnTo>
                    <a:pt x="8185" y="5703"/>
                  </a:lnTo>
                  <a:lnTo>
                    <a:pt x="8294" y="5702"/>
                  </a:lnTo>
                  <a:lnTo>
                    <a:pt x="8400" y="5698"/>
                  </a:lnTo>
                  <a:lnTo>
                    <a:pt x="8505" y="5693"/>
                  </a:lnTo>
                  <a:lnTo>
                    <a:pt x="8605" y="5684"/>
                  </a:lnTo>
                  <a:lnTo>
                    <a:pt x="8702" y="5674"/>
                  </a:lnTo>
                  <a:lnTo>
                    <a:pt x="8793" y="5663"/>
                  </a:lnTo>
                  <a:lnTo>
                    <a:pt x="8881" y="5649"/>
                  </a:lnTo>
                  <a:lnTo>
                    <a:pt x="8964" y="5632"/>
                  </a:lnTo>
                  <a:lnTo>
                    <a:pt x="9041" y="5614"/>
                  </a:lnTo>
                  <a:lnTo>
                    <a:pt x="9112" y="5594"/>
                  </a:lnTo>
                  <a:lnTo>
                    <a:pt x="9176" y="5571"/>
                  </a:lnTo>
                  <a:lnTo>
                    <a:pt x="9233" y="5547"/>
                  </a:lnTo>
                  <a:lnTo>
                    <a:pt x="9283" y="5520"/>
                  </a:lnTo>
                  <a:lnTo>
                    <a:pt x="9325" y="5491"/>
                  </a:lnTo>
                  <a:lnTo>
                    <a:pt x="9359" y="5460"/>
                  </a:lnTo>
                  <a:lnTo>
                    <a:pt x="9386" y="5419"/>
                  </a:lnTo>
                  <a:lnTo>
                    <a:pt x="9411" y="5360"/>
                  </a:lnTo>
                  <a:lnTo>
                    <a:pt x="9432" y="5285"/>
                  </a:lnTo>
                  <a:lnTo>
                    <a:pt x="9452" y="5194"/>
                  </a:lnTo>
                  <a:lnTo>
                    <a:pt x="9468" y="5090"/>
                  </a:lnTo>
                  <a:lnTo>
                    <a:pt x="9482" y="4973"/>
                  </a:lnTo>
                  <a:lnTo>
                    <a:pt x="9494" y="4845"/>
                  </a:lnTo>
                  <a:lnTo>
                    <a:pt x="9505" y="4706"/>
                  </a:lnTo>
                  <a:lnTo>
                    <a:pt x="9513" y="4558"/>
                  </a:lnTo>
                  <a:lnTo>
                    <a:pt x="9519" y="4403"/>
                  </a:lnTo>
                  <a:lnTo>
                    <a:pt x="9523" y="4241"/>
                  </a:lnTo>
                  <a:lnTo>
                    <a:pt x="9526" y="4075"/>
                  </a:lnTo>
                  <a:lnTo>
                    <a:pt x="9528" y="3903"/>
                  </a:lnTo>
                  <a:lnTo>
                    <a:pt x="9528" y="3730"/>
                  </a:lnTo>
                  <a:lnTo>
                    <a:pt x="9527" y="3555"/>
                  </a:lnTo>
                  <a:lnTo>
                    <a:pt x="9525" y="3380"/>
                  </a:lnTo>
                  <a:lnTo>
                    <a:pt x="9522" y="3205"/>
                  </a:lnTo>
                  <a:lnTo>
                    <a:pt x="9518" y="3032"/>
                  </a:lnTo>
                  <a:lnTo>
                    <a:pt x="9514" y="2864"/>
                  </a:lnTo>
                  <a:lnTo>
                    <a:pt x="9509" y="2700"/>
                  </a:lnTo>
                  <a:lnTo>
                    <a:pt x="9498" y="2391"/>
                  </a:lnTo>
                  <a:lnTo>
                    <a:pt x="9487" y="2116"/>
                  </a:lnTo>
                  <a:lnTo>
                    <a:pt x="9476" y="1886"/>
                  </a:lnTo>
                  <a:lnTo>
                    <a:pt x="9468" y="1708"/>
                  </a:lnTo>
                  <a:lnTo>
                    <a:pt x="9462" y="1594"/>
                  </a:lnTo>
                  <a:lnTo>
                    <a:pt x="9459" y="1555"/>
                  </a:lnTo>
                  <a:lnTo>
                    <a:pt x="4839" y="0"/>
                  </a:lnTo>
                  <a:lnTo>
                    <a:pt x="237" y="732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62" name="Freeform 36"/>
            <p:cNvSpPr>
              <a:spLocks/>
            </p:cNvSpPr>
            <p:nvPr/>
          </p:nvSpPr>
          <p:spPr bwMode="auto">
            <a:xfrm>
              <a:off x="3268663" y="4999038"/>
              <a:ext cx="176213" cy="84138"/>
            </a:xfrm>
            <a:custGeom>
              <a:avLst/>
              <a:gdLst>
                <a:gd name="T0" fmla="*/ 2147483647 w 3222"/>
                <a:gd name="T1" fmla="*/ 0 h 1550"/>
                <a:gd name="T2" fmla="*/ 2147483647 w 3222"/>
                <a:gd name="T3" fmla="*/ 2147483647 h 1550"/>
                <a:gd name="T4" fmla="*/ 2147483647 w 3222"/>
                <a:gd name="T5" fmla="*/ 2147483647 h 1550"/>
                <a:gd name="T6" fmla="*/ 0 w 3222"/>
                <a:gd name="T7" fmla="*/ 2147483647 h 1550"/>
                <a:gd name="T8" fmla="*/ 2147483647 w 3222"/>
                <a:gd name="T9" fmla="*/ 0 h 15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22"/>
                <a:gd name="T16" fmla="*/ 0 h 1550"/>
                <a:gd name="T17" fmla="*/ 3222 w 3222"/>
                <a:gd name="T18" fmla="*/ 1550 h 15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22" h="1550">
                  <a:moveTo>
                    <a:pt x="929" y="0"/>
                  </a:moveTo>
                  <a:lnTo>
                    <a:pt x="3222" y="341"/>
                  </a:lnTo>
                  <a:lnTo>
                    <a:pt x="2912" y="1550"/>
                  </a:lnTo>
                  <a:lnTo>
                    <a:pt x="0" y="868"/>
                  </a:lnTo>
                  <a:lnTo>
                    <a:pt x="929" y="0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63" name="Freeform 37"/>
            <p:cNvSpPr>
              <a:spLocks/>
            </p:cNvSpPr>
            <p:nvPr/>
          </p:nvSpPr>
          <p:spPr bwMode="auto">
            <a:xfrm>
              <a:off x="3408363" y="4972050"/>
              <a:ext cx="231775" cy="304800"/>
            </a:xfrm>
            <a:custGeom>
              <a:avLst/>
              <a:gdLst>
                <a:gd name="T0" fmla="*/ 0 w 4235"/>
                <a:gd name="T1" fmla="*/ 0 h 5558"/>
                <a:gd name="T2" fmla="*/ 2147483647 w 4235"/>
                <a:gd name="T3" fmla="*/ 2147483647 h 5558"/>
                <a:gd name="T4" fmla="*/ 2147483647 w 4235"/>
                <a:gd name="T5" fmla="*/ 2147483647 h 5558"/>
                <a:gd name="T6" fmla="*/ 2147483647 w 4235"/>
                <a:gd name="T7" fmla="*/ 2147483647 h 5558"/>
                <a:gd name="T8" fmla="*/ 2147483647 w 4235"/>
                <a:gd name="T9" fmla="*/ 2147483647 h 5558"/>
                <a:gd name="T10" fmla="*/ 2147483647 w 4235"/>
                <a:gd name="T11" fmla="*/ 2147483647 h 5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235"/>
                <a:gd name="T19" fmla="*/ 0 h 5558"/>
                <a:gd name="T20" fmla="*/ 4235 w 4235"/>
                <a:gd name="T21" fmla="*/ 5558 h 5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235" h="5558">
                  <a:moveTo>
                    <a:pt x="0" y="0"/>
                  </a:moveTo>
                  <a:lnTo>
                    <a:pt x="3764" y="1654"/>
                  </a:lnTo>
                  <a:lnTo>
                    <a:pt x="3912" y="5558"/>
                  </a:lnTo>
                  <a:lnTo>
                    <a:pt x="4191" y="5541"/>
                  </a:lnTo>
                  <a:lnTo>
                    <a:pt x="4235" y="1572"/>
                  </a:lnTo>
                  <a:lnTo>
                    <a:pt x="929" y="280"/>
                  </a:lnTo>
                </a:path>
              </a:pathLst>
            </a:custGeom>
            <a:noFill/>
            <a:ln w="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64" name="Freeform 38"/>
            <p:cNvSpPr>
              <a:spLocks/>
            </p:cNvSpPr>
            <p:nvPr/>
          </p:nvSpPr>
          <p:spPr bwMode="auto">
            <a:xfrm>
              <a:off x="3455988" y="4908550"/>
              <a:ext cx="230188" cy="127000"/>
            </a:xfrm>
            <a:custGeom>
              <a:avLst/>
              <a:gdLst>
                <a:gd name="T0" fmla="*/ 2147483647 w 4200"/>
                <a:gd name="T1" fmla="*/ 2147483647 h 2319"/>
                <a:gd name="T2" fmla="*/ 2147483647 w 4200"/>
                <a:gd name="T3" fmla="*/ 2147483647 h 2319"/>
                <a:gd name="T4" fmla="*/ 2147483647 w 4200"/>
                <a:gd name="T5" fmla="*/ 2147483647 h 2319"/>
                <a:gd name="T6" fmla="*/ 2147483647 w 4200"/>
                <a:gd name="T7" fmla="*/ 2147483647 h 2319"/>
                <a:gd name="T8" fmla="*/ 2147483647 w 4200"/>
                <a:gd name="T9" fmla="*/ 2147483647 h 2319"/>
                <a:gd name="T10" fmla="*/ 2147483647 w 4200"/>
                <a:gd name="T11" fmla="*/ 2147483647 h 2319"/>
                <a:gd name="T12" fmla="*/ 2147483647 w 4200"/>
                <a:gd name="T13" fmla="*/ 2147483647 h 2319"/>
                <a:gd name="T14" fmla="*/ 2147483647 w 4200"/>
                <a:gd name="T15" fmla="*/ 2147483647 h 2319"/>
                <a:gd name="T16" fmla="*/ 2147483647 w 4200"/>
                <a:gd name="T17" fmla="*/ 2147483647 h 2319"/>
                <a:gd name="T18" fmla="*/ 2147483647 w 4200"/>
                <a:gd name="T19" fmla="*/ 2147483647 h 2319"/>
                <a:gd name="T20" fmla="*/ 2147483647 w 4200"/>
                <a:gd name="T21" fmla="*/ 2147483647 h 2319"/>
                <a:gd name="T22" fmla="*/ 0 w 4200"/>
                <a:gd name="T23" fmla="*/ 2147483647 h 2319"/>
                <a:gd name="T24" fmla="*/ 2147483647 w 4200"/>
                <a:gd name="T25" fmla="*/ 2147483647 h 2319"/>
                <a:gd name="T26" fmla="*/ 2147483647 w 4200"/>
                <a:gd name="T27" fmla="*/ 2147483647 h 2319"/>
                <a:gd name="T28" fmla="*/ 2147483647 w 4200"/>
                <a:gd name="T29" fmla="*/ 2147483647 h 2319"/>
                <a:gd name="T30" fmla="*/ 2147483647 w 4200"/>
                <a:gd name="T31" fmla="*/ 2147483647 h 2319"/>
                <a:gd name="T32" fmla="*/ 2147483647 w 4200"/>
                <a:gd name="T33" fmla="*/ 2147483647 h 2319"/>
                <a:gd name="T34" fmla="*/ 2147483647 w 4200"/>
                <a:gd name="T35" fmla="*/ 2147483647 h 2319"/>
                <a:gd name="T36" fmla="*/ 2147483647 w 4200"/>
                <a:gd name="T37" fmla="*/ 2147483647 h 2319"/>
                <a:gd name="T38" fmla="*/ 2147483647 w 4200"/>
                <a:gd name="T39" fmla="*/ 2147483647 h 2319"/>
                <a:gd name="T40" fmla="*/ 2147483647 w 4200"/>
                <a:gd name="T41" fmla="*/ 2147483647 h 2319"/>
                <a:gd name="T42" fmla="*/ 2147483647 w 4200"/>
                <a:gd name="T43" fmla="*/ 2147483647 h 2319"/>
                <a:gd name="T44" fmla="*/ 2147483647 w 4200"/>
                <a:gd name="T45" fmla="*/ 2147483647 h 2319"/>
                <a:gd name="T46" fmla="*/ 2147483647 w 4200"/>
                <a:gd name="T47" fmla="*/ 0 h 2319"/>
                <a:gd name="T48" fmla="*/ 2147483647 w 4200"/>
                <a:gd name="T49" fmla="*/ 2147483647 h 2319"/>
                <a:gd name="T50" fmla="*/ 2147483647 w 4200"/>
                <a:gd name="T51" fmla="*/ 2147483647 h 2319"/>
                <a:gd name="T52" fmla="*/ 2147483647 w 4200"/>
                <a:gd name="T53" fmla="*/ 2147483647 h 2319"/>
                <a:gd name="T54" fmla="*/ 2147483647 w 4200"/>
                <a:gd name="T55" fmla="*/ 2147483647 h 2319"/>
                <a:gd name="T56" fmla="*/ 2147483647 w 4200"/>
                <a:gd name="T57" fmla="*/ 2147483647 h 2319"/>
                <a:gd name="T58" fmla="*/ 2147483647 w 4200"/>
                <a:gd name="T59" fmla="*/ 2147483647 h 2319"/>
                <a:gd name="T60" fmla="*/ 2147483647 w 4200"/>
                <a:gd name="T61" fmla="*/ 2147483647 h 2319"/>
                <a:gd name="T62" fmla="*/ 2147483647 w 4200"/>
                <a:gd name="T63" fmla="*/ 2147483647 h 2319"/>
                <a:gd name="T64" fmla="*/ 2147483647 w 4200"/>
                <a:gd name="T65" fmla="*/ 2147483647 h 2319"/>
                <a:gd name="T66" fmla="*/ 2147483647 w 4200"/>
                <a:gd name="T67" fmla="*/ 2147483647 h 2319"/>
                <a:gd name="T68" fmla="*/ 2147483647 w 4200"/>
                <a:gd name="T69" fmla="*/ 2147483647 h 2319"/>
                <a:gd name="T70" fmla="*/ 2147483647 w 4200"/>
                <a:gd name="T71" fmla="*/ 2147483647 h 2319"/>
                <a:gd name="T72" fmla="*/ 2147483647 w 4200"/>
                <a:gd name="T73" fmla="*/ 2147483647 h 2319"/>
                <a:gd name="T74" fmla="*/ 2147483647 w 4200"/>
                <a:gd name="T75" fmla="*/ 2147483647 h 2319"/>
                <a:gd name="T76" fmla="*/ 2147483647 w 4200"/>
                <a:gd name="T77" fmla="*/ 2147483647 h 2319"/>
                <a:gd name="T78" fmla="*/ 2147483647 w 4200"/>
                <a:gd name="T79" fmla="*/ 2147483647 h 2319"/>
                <a:gd name="T80" fmla="*/ 2147483647 w 4200"/>
                <a:gd name="T81" fmla="*/ 2147483647 h 2319"/>
                <a:gd name="T82" fmla="*/ 2147483647 w 4200"/>
                <a:gd name="T83" fmla="*/ 2147483647 h 2319"/>
                <a:gd name="T84" fmla="*/ 2147483647 w 4200"/>
                <a:gd name="T85" fmla="*/ 2147483647 h 2319"/>
                <a:gd name="T86" fmla="*/ 2147483647 w 4200"/>
                <a:gd name="T87" fmla="*/ 2147483647 h 2319"/>
                <a:gd name="T88" fmla="*/ 2147483647 w 4200"/>
                <a:gd name="T89" fmla="*/ 2147483647 h 2319"/>
                <a:gd name="T90" fmla="*/ 2147483647 w 4200"/>
                <a:gd name="T91" fmla="*/ 2147483647 h 2319"/>
                <a:gd name="T92" fmla="*/ 2147483647 w 4200"/>
                <a:gd name="T93" fmla="*/ 2147483647 h 2319"/>
                <a:gd name="T94" fmla="*/ 2147483647 w 4200"/>
                <a:gd name="T95" fmla="*/ 2147483647 h 2319"/>
                <a:gd name="T96" fmla="*/ 2147483647 w 4200"/>
                <a:gd name="T97" fmla="*/ 2147483647 h 2319"/>
                <a:gd name="T98" fmla="*/ 2147483647 w 4200"/>
                <a:gd name="T99" fmla="*/ 2147483647 h 2319"/>
                <a:gd name="T100" fmla="*/ 2147483647 w 4200"/>
                <a:gd name="T101" fmla="*/ 2147483647 h 2319"/>
                <a:gd name="T102" fmla="*/ 2147483647 w 4200"/>
                <a:gd name="T103" fmla="*/ 2147483647 h 2319"/>
                <a:gd name="T104" fmla="*/ 2147483647 w 4200"/>
                <a:gd name="T105" fmla="*/ 2147483647 h 231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0"/>
                <a:gd name="T160" fmla="*/ 0 h 2319"/>
                <a:gd name="T161" fmla="*/ 4200 w 4200"/>
                <a:gd name="T162" fmla="*/ 2319 h 231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0" h="2319">
                  <a:moveTo>
                    <a:pt x="3421" y="865"/>
                  </a:moveTo>
                  <a:lnTo>
                    <a:pt x="3335" y="867"/>
                  </a:lnTo>
                  <a:lnTo>
                    <a:pt x="3257" y="877"/>
                  </a:lnTo>
                  <a:lnTo>
                    <a:pt x="3189" y="893"/>
                  </a:lnTo>
                  <a:lnTo>
                    <a:pt x="3129" y="914"/>
                  </a:lnTo>
                  <a:lnTo>
                    <a:pt x="3076" y="942"/>
                  </a:lnTo>
                  <a:lnTo>
                    <a:pt x="3030" y="975"/>
                  </a:lnTo>
                  <a:lnTo>
                    <a:pt x="2991" y="1013"/>
                  </a:lnTo>
                  <a:lnTo>
                    <a:pt x="2958" y="1053"/>
                  </a:lnTo>
                  <a:lnTo>
                    <a:pt x="2932" y="1098"/>
                  </a:lnTo>
                  <a:lnTo>
                    <a:pt x="2909" y="1147"/>
                  </a:lnTo>
                  <a:lnTo>
                    <a:pt x="2893" y="1197"/>
                  </a:lnTo>
                  <a:lnTo>
                    <a:pt x="2881" y="1250"/>
                  </a:lnTo>
                  <a:lnTo>
                    <a:pt x="2872" y="1306"/>
                  </a:lnTo>
                  <a:lnTo>
                    <a:pt x="2867" y="1362"/>
                  </a:lnTo>
                  <a:lnTo>
                    <a:pt x="2865" y="1419"/>
                  </a:lnTo>
                  <a:lnTo>
                    <a:pt x="2866" y="1476"/>
                  </a:lnTo>
                  <a:lnTo>
                    <a:pt x="2869" y="1532"/>
                  </a:lnTo>
                  <a:lnTo>
                    <a:pt x="2873" y="1588"/>
                  </a:lnTo>
                  <a:lnTo>
                    <a:pt x="2880" y="1644"/>
                  </a:lnTo>
                  <a:lnTo>
                    <a:pt x="2886" y="1697"/>
                  </a:lnTo>
                  <a:lnTo>
                    <a:pt x="2898" y="1797"/>
                  </a:lnTo>
                  <a:lnTo>
                    <a:pt x="2908" y="1885"/>
                  </a:lnTo>
                  <a:lnTo>
                    <a:pt x="2910" y="1922"/>
                  </a:lnTo>
                  <a:lnTo>
                    <a:pt x="2911" y="1955"/>
                  </a:lnTo>
                  <a:lnTo>
                    <a:pt x="2909" y="1984"/>
                  </a:lnTo>
                  <a:lnTo>
                    <a:pt x="2904" y="2006"/>
                  </a:lnTo>
                  <a:lnTo>
                    <a:pt x="2895" y="2022"/>
                  </a:lnTo>
                  <a:lnTo>
                    <a:pt x="2883" y="2033"/>
                  </a:lnTo>
                  <a:lnTo>
                    <a:pt x="2865" y="2036"/>
                  </a:lnTo>
                  <a:lnTo>
                    <a:pt x="2844" y="2032"/>
                  </a:lnTo>
                  <a:lnTo>
                    <a:pt x="32" y="1094"/>
                  </a:lnTo>
                  <a:lnTo>
                    <a:pt x="17" y="1086"/>
                  </a:lnTo>
                  <a:lnTo>
                    <a:pt x="7" y="1074"/>
                  </a:lnTo>
                  <a:lnTo>
                    <a:pt x="1" y="1057"/>
                  </a:lnTo>
                  <a:lnTo>
                    <a:pt x="0" y="1037"/>
                  </a:lnTo>
                  <a:lnTo>
                    <a:pt x="2" y="1014"/>
                  </a:lnTo>
                  <a:lnTo>
                    <a:pt x="9" y="987"/>
                  </a:lnTo>
                  <a:lnTo>
                    <a:pt x="19" y="958"/>
                  </a:lnTo>
                  <a:lnTo>
                    <a:pt x="35" y="926"/>
                  </a:lnTo>
                  <a:lnTo>
                    <a:pt x="53" y="892"/>
                  </a:lnTo>
                  <a:lnTo>
                    <a:pt x="75" y="855"/>
                  </a:lnTo>
                  <a:lnTo>
                    <a:pt x="101" y="817"/>
                  </a:lnTo>
                  <a:lnTo>
                    <a:pt x="131" y="778"/>
                  </a:lnTo>
                  <a:lnTo>
                    <a:pt x="163" y="737"/>
                  </a:lnTo>
                  <a:lnTo>
                    <a:pt x="199" y="695"/>
                  </a:lnTo>
                  <a:lnTo>
                    <a:pt x="239" y="652"/>
                  </a:lnTo>
                  <a:lnTo>
                    <a:pt x="282" y="609"/>
                  </a:lnTo>
                  <a:lnTo>
                    <a:pt x="328" y="565"/>
                  </a:lnTo>
                  <a:lnTo>
                    <a:pt x="375" y="522"/>
                  </a:lnTo>
                  <a:lnTo>
                    <a:pt x="428" y="479"/>
                  </a:lnTo>
                  <a:lnTo>
                    <a:pt x="482" y="437"/>
                  </a:lnTo>
                  <a:lnTo>
                    <a:pt x="539" y="395"/>
                  </a:lnTo>
                  <a:lnTo>
                    <a:pt x="599" y="355"/>
                  </a:lnTo>
                  <a:lnTo>
                    <a:pt x="661" y="315"/>
                  </a:lnTo>
                  <a:lnTo>
                    <a:pt x="726" y="278"/>
                  </a:lnTo>
                  <a:lnTo>
                    <a:pt x="793" y="243"/>
                  </a:lnTo>
                  <a:lnTo>
                    <a:pt x="862" y="209"/>
                  </a:lnTo>
                  <a:lnTo>
                    <a:pt x="935" y="177"/>
                  </a:lnTo>
                  <a:lnTo>
                    <a:pt x="1008" y="150"/>
                  </a:lnTo>
                  <a:lnTo>
                    <a:pt x="1084" y="124"/>
                  </a:lnTo>
                  <a:lnTo>
                    <a:pt x="1161" y="102"/>
                  </a:lnTo>
                  <a:lnTo>
                    <a:pt x="1241" y="83"/>
                  </a:lnTo>
                  <a:lnTo>
                    <a:pt x="1322" y="68"/>
                  </a:lnTo>
                  <a:lnTo>
                    <a:pt x="1427" y="53"/>
                  </a:lnTo>
                  <a:lnTo>
                    <a:pt x="1533" y="38"/>
                  </a:lnTo>
                  <a:lnTo>
                    <a:pt x="1638" y="27"/>
                  </a:lnTo>
                  <a:lnTo>
                    <a:pt x="1744" y="18"/>
                  </a:lnTo>
                  <a:lnTo>
                    <a:pt x="1850" y="10"/>
                  </a:lnTo>
                  <a:lnTo>
                    <a:pt x="1956" y="5"/>
                  </a:lnTo>
                  <a:lnTo>
                    <a:pt x="2061" y="1"/>
                  </a:lnTo>
                  <a:lnTo>
                    <a:pt x="2166" y="0"/>
                  </a:lnTo>
                  <a:lnTo>
                    <a:pt x="2271" y="3"/>
                  </a:lnTo>
                  <a:lnTo>
                    <a:pt x="2376" y="6"/>
                  </a:lnTo>
                  <a:lnTo>
                    <a:pt x="2479" y="11"/>
                  </a:lnTo>
                  <a:lnTo>
                    <a:pt x="2580" y="19"/>
                  </a:lnTo>
                  <a:lnTo>
                    <a:pt x="2681" y="29"/>
                  </a:lnTo>
                  <a:lnTo>
                    <a:pt x="2781" y="41"/>
                  </a:lnTo>
                  <a:lnTo>
                    <a:pt x="2879" y="57"/>
                  </a:lnTo>
                  <a:lnTo>
                    <a:pt x="2975" y="73"/>
                  </a:lnTo>
                  <a:lnTo>
                    <a:pt x="3069" y="92"/>
                  </a:lnTo>
                  <a:lnTo>
                    <a:pt x="3161" y="115"/>
                  </a:lnTo>
                  <a:lnTo>
                    <a:pt x="3252" y="138"/>
                  </a:lnTo>
                  <a:lnTo>
                    <a:pt x="3341" y="165"/>
                  </a:lnTo>
                  <a:lnTo>
                    <a:pt x="3427" y="193"/>
                  </a:lnTo>
                  <a:lnTo>
                    <a:pt x="3509" y="225"/>
                  </a:lnTo>
                  <a:lnTo>
                    <a:pt x="3591" y="259"/>
                  </a:lnTo>
                  <a:lnTo>
                    <a:pt x="3668" y="295"/>
                  </a:lnTo>
                  <a:lnTo>
                    <a:pt x="3743" y="333"/>
                  </a:lnTo>
                  <a:lnTo>
                    <a:pt x="3814" y="375"/>
                  </a:lnTo>
                  <a:lnTo>
                    <a:pt x="3883" y="419"/>
                  </a:lnTo>
                  <a:lnTo>
                    <a:pt x="3948" y="465"/>
                  </a:lnTo>
                  <a:lnTo>
                    <a:pt x="4009" y="514"/>
                  </a:lnTo>
                  <a:lnTo>
                    <a:pt x="4067" y="565"/>
                  </a:lnTo>
                  <a:lnTo>
                    <a:pt x="4120" y="619"/>
                  </a:lnTo>
                  <a:lnTo>
                    <a:pt x="4170" y="676"/>
                  </a:lnTo>
                  <a:lnTo>
                    <a:pt x="4176" y="683"/>
                  </a:lnTo>
                  <a:lnTo>
                    <a:pt x="4180" y="689"/>
                  </a:lnTo>
                  <a:lnTo>
                    <a:pt x="4184" y="695"/>
                  </a:lnTo>
                  <a:lnTo>
                    <a:pt x="4186" y="700"/>
                  </a:lnTo>
                  <a:lnTo>
                    <a:pt x="4187" y="705"/>
                  </a:lnTo>
                  <a:lnTo>
                    <a:pt x="4188" y="709"/>
                  </a:lnTo>
                  <a:lnTo>
                    <a:pt x="4188" y="713"/>
                  </a:lnTo>
                  <a:lnTo>
                    <a:pt x="4188" y="717"/>
                  </a:lnTo>
                  <a:lnTo>
                    <a:pt x="4186" y="721"/>
                  </a:lnTo>
                  <a:lnTo>
                    <a:pt x="4184" y="725"/>
                  </a:lnTo>
                  <a:lnTo>
                    <a:pt x="4182" y="728"/>
                  </a:lnTo>
                  <a:lnTo>
                    <a:pt x="4179" y="731"/>
                  </a:lnTo>
                  <a:lnTo>
                    <a:pt x="4170" y="737"/>
                  </a:lnTo>
                  <a:lnTo>
                    <a:pt x="4161" y="742"/>
                  </a:lnTo>
                  <a:lnTo>
                    <a:pt x="4140" y="754"/>
                  </a:lnTo>
                  <a:lnTo>
                    <a:pt x="4116" y="767"/>
                  </a:lnTo>
                  <a:lnTo>
                    <a:pt x="4104" y="777"/>
                  </a:lnTo>
                  <a:lnTo>
                    <a:pt x="4093" y="787"/>
                  </a:lnTo>
                  <a:lnTo>
                    <a:pt x="4088" y="792"/>
                  </a:lnTo>
                  <a:lnTo>
                    <a:pt x="4083" y="798"/>
                  </a:lnTo>
                  <a:lnTo>
                    <a:pt x="4078" y="805"/>
                  </a:lnTo>
                  <a:lnTo>
                    <a:pt x="4074" y="812"/>
                  </a:lnTo>
                  <a:lnTo>
                    <a:pt x="4070" y="818"/>
                  </a:lnTo>
                  <a:lnTo>
                    <a:pt x="4067" y="826"/>
                  </a:lnTo>
                  <a:lnTo>
                    <a:pt x="4064" y="833"/>
                  </a:lnTo>
                  <a:lnTo>
                    <a:pt x="4062" y="841"/>
                  </a:lnTo>
                  <a:lnTo>
                    <a:pt x="4059" y="858"/>
                  </a:lnTo>
                  <a:lnTo>
                    <a:pt x="4057" y="877"/>
                  </a:lnTo>
                  <a:lnTo>
                    <a:pt x="4056" y="896"/>
                  </a:lnTo>
                  <a:lnTo>
                    <a:pt x="4056" y="917"/>
                  </a:lnTo>
                  <a:lnTo>
                    <a:pt x="4057" y="938"/>
                  </a:lnTo>
                  <a:lnTo>
                    <a:pt x="4059" y="959"/>
                  </a:lnTo>
                  <a:lnTo>
                    <a:pt x="4064" y="1003"/>
                  </a:lnTo>
                  <a:lnTo>
                    <a:pt x="4070" y="1045"/>
                  </a:lnTo>
                  <a:lnTo>
                    <a:pt x="4078" y="1084"/>
                  </a:lnTo>
                  <a:lnTo>
                    <a:pt x="4085" y="1117"/>
                  </a:lnTo>
                  <a:lnTo>
                    <a:pt x="4106" y="1214"/>
                  </a:lnTo>
                  <a:lnTo>
                    <a:pt x="4128" y="1310"/>
                  </a:lnTo>
                  <a:lnTo>
                    <a:pt x="4149" y="1405"/>
                  </a:lnTo>
                  <a:lnTo>
                    <a:pt x="4168" y="1499"/>
                  </a:lnTo>
                  <a:lnTo>
                    <a:pt x="4177" y="1545"/>
                  </a:lnTo>
                  <a:lnTo>
                    <a:pt x="4185" y="1589"/>
                  </a:lnTo>
                  <a:lnTo>
                    <a:pt x="4191" y="1634"/>
                  </a:lnTo>
                  <a:lnTo>
                    <a:pt x="4195" y="1678"/>
                  </a:lnTo>
                  <a:lnTo>
                    <a:pt x="4198" y="1722"/>
                  </a:lnTo>
                  <a:lnTo>
                    <a:pt x="4200" y="1764"/>
                  </a:lnTo>
                  <a:lnTo>
                    <a:pt x="4200" y="1806"/>
                  </a:lnTo>
                  <a:lnTo>
                    <a:pt x="4197" y="1847"/>
                  </a:lnTo>
                  <a:lnTo>
                    <a:pt x="4193" y="1887"/>
                  </a:lnTo>
                  <a:lnTo>
                    <a:pt x="4186" y="1925"/>
                  </a:lnTo>
                  <a:lnTo>
                    <a:pt x="4176" y="1962"/>
                  </a:lnTo>
                  <a:lnTo>
                    <a:pt x="4163" y="1999"/>
                  </a:lnTo>
                  <a:lnTo>
                    <a:pt x="4148" y="2034"/>
                  </a:lnTo>
                  <a:lnTo>
                    <a:pt x="4130" y="2067"/>
                  </a:lnTo>
                  <a:lnTo>
                    <a:pt x="4108" y="2100"/>
                  </a:lnTo>
                  <a:lnTo>
                    <a:pt x="4083" y="2131"/>
                  </a:lnTo>
                  <a:lnTo>
                    <a:pt x="4054" y="2160"/>
                  </a:lnTo>
                  <a:lnTo>
                    <a:pt x="4021" y="2188"/>
                  </a:lnTo>
                  <a:lnTo>
                    <a:pt x="3986" y="2214"/>
                  </a:lnTo>
                  <a:lnTo>
                    <a:pt x="3945" y="2239"/>
                  </a:lnTo>
                  <a:lnTo>
                    <a:pt x="3900" y="2261"/>
                  </a:lnTo>
                  <a:lnTo>
                    <a:pt x="3851" y="2282"/>
                  </a:lnTo>
                  <a:lnTo>
                    <a:pt x="3797" y="2301"/>
                  </a:lnTo>
                  <a:lnTo>
                    <a:pt x="3738" y="2319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465" name="Freeform 39"/>
            <p:cNvSpPr>
              <a:spLocks/>
            </p:cNvSpPr>
            <p:nvPr/>
          </p:nvSpPr>
          <p:spPr bwMode="auto">
            <a:xfrm>
              <a:off x="3324225" y="5273675"/>
              <a:ext cx="417513" cy="95250"/>
            </a:xfrm>
            <a:custGeom>
              <a:avLst/>
              <a:gdLst>
                <a:gd name="T0" fmla="*/ 2147483647 w 7637"/>
                <a:gd name="T1" fmla="*/ 2147483647 h 1726"/>
                <a:gd name="T2" fmla="*/ 2147483647 w 7637"/>
                <a:gd name="T3" fmla="*/ 2147483647 h 1726"/>
                <a:gd name="T4" fmla="*/ 2147483647 w 7637"/>
                <a:gd name="T5" fmla="*/ 2147483647 h 1726"/>
                <a:gd name="T6" fmla="*/ 2147483647 w 7637"/>
                <a:gd name="T7" fmla="*/ 2147483647 h 1726"/>
                <a:gd name="T8" fmla="*/ 2147483647 w 7637"/>
                <a:gd name="T9" fmla="*/ 2147483647 h 1726"/>
                <a:gd name="T10" fmla="*/ 2147483647 w 7637"/>
                <a:gd name="T11" fmla="*/ 2147483647 h 1726"/>
                <a:gd name="T12" fmla="*/ 2147483647 w 7637"/>
                <a:gd name="T13" fmla="*/ 2147483647 h 1726"/>
                <a:gd name="T14" fmla="*/ 2147483647 w 7637"/>
                <a:gd name="T15" fmla="*/ 2147483647 h 1726"/>
                <a:gd name="T16" fmla="*/ 2147483647 w 7637"/>
                <a:gd name="T17" fmla="*/ 2147483647 h 1726"/>
                <a:gd name="T18" fmla="*/ 2147483647 w 7637"/>
                <a:gd name="T19" fmla="*/ 2147483647 h 1726"/>
                <a:gd name="T20" fmla="*/ 2147483647 w 7637"/>
                <a:gd name="T21" fmla="*/ 2147483647 h 1726"/>
                <a:gd name="T22" fmla="*/ 2147483647 w 7637"/>
                <a:gd name="T23" fmla="*/ 2147483647 h 1726"/>
                <a:gd name="T24" fmla="*/ 2147483647 w 7637"/>
                <a:gd name="T25" fmla="*/ 2147483647 h 1726"/>
                <a:gd name="T26" fmla="*/ 2147483647 w 7637"/>
                <a:gd name="T27" fmla="*/ 2147483647 h 1726"/>
                <a:gd name="T28" fmla="*/ 2147483647 w 7637"/>
                <a:gd name="T29" fmla="*/ 2147483647 h 1726"/>
                <a:gd name="T30" fmla="*/ 2147483647 w 7637"/>
                <a:gd name="T31" fmla="*/ 2147483647 h 1726"/>
                <a:gd name="T32" fmla="*/ 2147483647 w 7637"/>
                <a:gd name="T33" fmla="*/ 2147483647 h 1726"/>
                <a:gd name="T34" fmla="*/ 2147483647 w 7637"/>
                <a:gd name="T35" fmla="*/ 2147483647 h 1726"/>
                <a:gd name="T36" fmla="*/ 2147483647 w 7637"/>
                <a:gd name="T37" fmla="*/ 2147483647 h 1726"/>
                <a:gd name="T38" fmla="*/ 2147483647 w 7637"/>
                <a:gd name="T39" fmla="*/ 2147483647 h 1726"/>
                <a:gd name="T40" fmla="*/ 2147483647 w 7637"/>
                <a:gd name="T41" fmla="*/ 2147483647 h 1726"/>
                <a:gd name="T42" fmla="*/ 2147483647 w 7637"/>
                <a:gd name="T43" fmla="*/ 2147483647 h 1726"/>
                <a:gd name="T44" fmla="*/ 2147483647 w 7637"/>
                <a:gd name="T45" fmla="*/ 2147483647 h 1726"/>
                <a:gd name="T46" fmla="*/ 2147483647 w 7637"/>
                <a:gd name="T47" fmla="*/ 2147483647 h 1726"/>
                <a:gd name="T48" fmla="*/ 2147483647 w 7637"/>
                <a:gd name="T49" fmla="*/ 2147483647 h 1726"/>
                <a:gd name="T50" fmla="*/ 2147483647 w 7637"/>
                <a:gd name="T51" fmla="*/ 2147483647 h 1726"/>
                <a:gd name="T52" fmla="*/ 2147483647 w 7637"/>
                <a:gd name="T53" fmla="*/ 2147483647 h 1726"/>
                <a:gd name="T54" fmla="*/ 2147483647 w 7637"/>
                <a:gd name="T55" fmla="*/ 2147483647 h 1726"/>
                <a:gd name="T56" fmla="*/ 2147483647 w 7637"/>
                <a:gd name="T57" fmla="*/ 2147483647 h 1726"/>
                <a:gd name="T58" fmla="*/ 2147483647 w 7637"/>
                <a:gd name="T59" fmla="*/ 2147483647 h 1726"/>
                <a:gd name="T60" fmla="*/ 2147483647 w 7637"/>
                <a:gd name="T61" fmla="*/ 2147483647 h 1726"/>
                <a:gd name="T62" fmla="*/ 2147483647 w 7637"/>
                <a:gd name="T63" fmla="*/ 2147483647 h 1726"/>
                <a:gd name="T64" fmla="*/ 2147483647 w 7637"/>
                <a:gd name="T65" fmla="*/ 2147483647 h 1726"/>
                <a:gd name="T66" fmla="*/ 2147483647 w 7637"/>
                <a:gd name="T67" fmla="*/ 2147483647 h 1726"/>
                <a:gd name="T68" fmla="*/ 2147483647 w 7637"/>
                <a:gd name="T69" fmla="*/ 2147483647 h 1726"/>
                <a:gd name="T70" fmla="*/ 2147483647 w 7637"/>
                <a:gd name="T71" fmla="*/ 2147483647 h 1726"/>
                <a:gd name="T72" fmla="*/ 2147483647 w 7637"/>
                <a:gd name="T73" fmla="*/ 2147483647 h 1726"/>
                <a:gd name="T74" fmla="*/ 2147483647 w 7637"/>
                <a:gd name="T75" fmla="*/ 2147483647 h 1726"/>
                <a:gd name="T76" fmla="*/ 2147483647 w 7637"/>
                <a:gd name="T77" fmla="*/ 2147483647 h 1726"/>
                <a:gd name="T78" fmla="*/ 2147483647 w 7637"/>
                <a:gd name="T79" fmla="*/ 2147483647 h 1726"/>
                <a:gd name="T80" fmla="*/ 2147483647 w 7637"/>
                <a:gd name="T81" fmla="*/ 2147483647 h 1726"/>
                <a:gd name="T82" fmla="*/ 2147483647 w 7637"/>
                <a:gd name="T83" fmla="*/ 2147483647 h 1726"/>
                <a:gd name="T84" fmla="*/ 2147483647 w 7637"/>
                <a:gd name="T85" fmla="*/ 2147483647 h 1726"/>
                <a:gd name="T86" fmla="*/ 2147483647 w 7637"/>
                <a:gd name="T87" fmla="*/ 2147483647 h 1726"/>
                <a:gd name="T88" fmla="*/ 2147483647 w 7637"/>
                <a:gd name="T89" fmla="*/ 2147483647 h 1726"/>
                <a:gd name="T90" fmla="*/ 2147483647 w 7637"/>
                <a:gd name="T91" fmla="*/ 2147483647 h 1726"/>
                <a:gd name="T92" fmla="*/ 2147483647 w 7637"/>
                <a:gd name="T93" fmla="*/ 2147483647 h 1726"/>
                <a:gd name="T94" fmla="*/ 2147483647 w 7637"/>
                <a:gd name="T95" fmla="*/ 2147483647 h 1726"/>
                <a:gd name="T96" fmla="*/ 2147483647 w 7637"/>
                <a:gd name="T97" fmla="*/ 2147483647 h 1726"/>
                <a:gd name="T98" fmla="*/ 2147483647 w 7637"/>
                <a:gd name="T99" fmla="*/ 2147483647 h 1726"/>
                <a:gd name="T100" fmla="*/ 2147483647 w 7637"/>
                <a:gd name="T101" fmla="*/ 2147483647 h 1726"/>
                <a:gd name="T102" fmla="*/ 2147483647 w 7637"/>
                <a:gd name="T103" fmla="*/ 2147483647 h 1726"/>
                <a:gd name="T104" fmla="*/ 2147483647 w 7637"/>
                <a:gd name="T105" fmla="*/ 2147483647 h 1726"/>
                <a:gd name="T106" fmla="*/ 2147483647 w 7637"/>
                <a:gd name="T107" fmla="*/ 2147483647 h 1726"/>
                <a:gd name="T108" fmla="*/ 2147483647 w 7637"/>
                <a:gd name="T109" fmla="*/ 2147483647 h 1726"/>
                <a:gd name="T110" fmla="*/ 2147483647 w 7637"/>
                <a:gd name="T111" fmla="*/ 2147483647 h 1726"/>
                <a:gd name="T112" fmla="*/ 2147483647 w 7637"/>
                <a:gd name="T113" fmla="*/ 2147483647 h 1726"/>
                <a:gd name="T114" fmla="*/ 2147483647 w 7637"/>
                <a:gd name="T115" fmla="*/ 0 h 17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637"/>
                <a:gd name="T175" fmla="*/ 0 h 1726"/>
                <a:gd name="T176" fmla="*/ 7637 w 7637"/>
                <a:gd name="T177" fmla="*/ 1726 h 17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637" h="1726">
                  <a:moveTo>
                    <a:pt x="0" y="566"/>
                  </a:moveTo>
                  <a:lnTo>
                    <a:pt x="24" y="574"/>
                  </a:lnTo>
                  <a:lnTo>
                    <a:pt x="98" y="597"/>
                  </a:lnTo>
                  <a:lnTo>
                    <a:pt x="213" y="633"/>
                  </a:lnTo>
                  <a:lnTo>
                    <a:pt x="367" y="680"/>
                  </a:lnTo>
                  <a:lnTo>
                    <a:pt x="458" y="707"/>
                  </a:lnTo>
                  <a:lnTo>
                    <a:pt x="555" y="735"/>
                  </a:lnTo>
                  <a:lnTo>
                    <a:pt x="660" y="765"/>
                  </a:lnTo>
                  <a:lnTo>
                    <a:pt x="772" y="797"/>
                  </a:lnTo>
                  <a:lnTo>
                    <a:pt x="890" y="828"/>
                  </a:lnTo>
                  <a:lnTo>
                    <a:pt x="1013" y="861"/>
                  </a:lnTo>
                  <a:lnTo>
                    <a:pt x="1141" y="894"/>
                  </a:lnTo>
                  <a:lnTo>
                    <a:pt x="1273" y="926"/>
                  </a:lnTo>
                  <a:lnTo>
                    <a:pt x="1410" y="959"/>
                  </a:lnTo>
                  <a:lnTo>
                    <a:pt x="1549" y="991"/>
                  </a:lnTo>
                  <a:lnTo>
                    <a:pt x="1691" y="1022"/>
                  </a:lnTo>
                  <a:lnTo>
                    <a:pt x="1835" y="1052"/>
                  </a:lnTo>
                  <a:lnTo>
                    <a:pt x="1980" y="1081"/>
                  </a:lnTo>
                  <a:lnTo>
                    <a:pt x="2126" y="1108"/>
                  </a:lnTo>
                  <a:lnTo>
                    <a:pt x="2273" y="1133"/>
                  </a:lnTo>
                  <a:lnTo>
                    <a:pt x="2419" y="1155"/>
                  </a:lnTo>
                  <a:lnTo>
                    <a:pt x="2564" y="1176"/>
                  </a:lnTo>
                  <a:lnTo>
                    <a:pt x="2708" y="1193"/>
                  </a:lnTo>
                  <a:lnTo>
                    <a:pt x="2850" y="1207"/>
                  </a:lnTo>
                  <a:lnTo>
                    <a:pt x="2989" y="1217"/>
                  </a:lnTo>
                  <a:lnTo>
                    <a:pt x="3124" y="1225"/>
                  </a:lnTo>
                  <a:lnTo>
                    <a:pt x="3256" y="1228"/>
                  </a:lnTo>
                  <a:lnTo>
                    <a:pt x="3384" y="1226"/>
                  </a:lnTo>
                  <a:lnTo>
                    <a:pt x="3506" y="1220"/>
                  </a:lnTo>
                  <a:lnTo>
                    <a:pt x="3623" y="1213"/>
                  </a:lnTo>
                  <a:lnTo>
                    <a:pt x="3734" y="1211"/>
                  </a:lnTo>
                  <a:lnTo>
                    <a:pt x="3839" y="1212"/>
                  </a:lnTo>
                  <a:lnTo>
                    <a:pt x="3938" y="1216"/>
                  </a:lnTo>
                  <a:lnTo>
                    <a:pt x="4032" y="1223"/>
                  </a:lnTo>
                  <a:lnTo>
                    <a:pt x="4120" y="1234"/>
                  </a:lnTo>
                  <a:lnTo>
                    <a:pt x="4204" y="1246"/>
                  </a:lnTo>
                  <a:lnTo>
                    <a:pt x="4283" y="1261"/>
                  </a:lnTo>
                  <a:lnTo>
                    <a:pt x="4355" y="1279"/>
                  </a:lnTo>
                  <a:lnTo>
                    <a:pt x="4424" y="1298"/>
                  </a:lnTo>
                  <a:lnTo>
                    <a:pt x="4488" y="1318"/>
                  </a:lnTo>
                  <a:lnTo>
                    <a:pt x="4547" y="1341"/>
                  </a:lnTo>
                  <a:lnTo>
                    <a:pt x="4602" y="1364"/>
                  </a:lnTo>
                  <a:lnTo>
                    <a:pt x="4653" y="1389"/>
                  </a:lnTo>
                  <a:lnTo>
                    <a:pt x="4700" y="1413"/>
                  </a:lnTo>
                  <a:lnTo>
                    <a:pt x="4743" y="1439"/>
                  </a:lnTo>
                  <a:lnTo>
                    <a:pt x="4783" y="1466"/>
                  </a:lnTo>
                  <a:lnTo>
                    <a:pt x="4818" y="1491"/>
                  </a:lnTo>
                  <a:lnTo>
                    <a:pt x="4850" y="1517"/>
                  </a:lnTo>
                  <a:lnTo>
                    <a:pt x="4880" y="1542"/>
                  </a:lnTo>
                  <a:lnTo>
                    <a:pt x="4905" y="1567"/>
                  </a:lnTo>
                  <a:lnTo>
                    <a:pt x="4928" y="1590"/>
                  </a:lnTo>
                  <a:lnTo>
                    <a:pt x="4948" y="1613"/>
                  </a:lnTo>
                  <a:lnTo>
                    <a:pt x="4964" y="1634"/>
                  </a:lnTo>
                  <a:lnTo>
                    <a:pt x="4980" y="1653"/>
                  </a:lnTo>
                  <a:lnTo>
                    <a:pt x="4992" y="1671"/>
                  </a:lnTo>
                  <a:lnTo>
                    <a:pt x="5001" y="1687"/>
                  </a:lnTo>
                  <a:lnTo>
                    <a:pt x="5009" y="1700"/>
                  </a:lnTo>
                  <a:lnTo>
                    <a:pt x="5018" y="1719"/>
                  </a:lnTo>
                  <a:lnTo>
                    <a:pt x="5021" y="1726"/>
                  </a:lnTo>
                  <a:lnTo>
                    <a:pt x="7637" y="922"/>
                  </a:lnTo>
                  <a:lnTo>
                    <a:pt x="7624" y="912"/>
                  </a:lnTo>
                  <a:lnTo>
                    <a:pt x="7586" y="882"/>
                  </a:lnTo>
                  <a:lnTo>
                    <a:pt x="7525" y="835"/>
                  </a:lnTo>
                  <a:lnTo>
                    <a:pt x="7443" y="776"/>
                  </a:lnTo>
                  <a:lnTo>
                    <a:pt x="7395" y="744"/>
                  </a:lnTo>
                  <a:lnTo>
                    <a:pt x="7343" y="707"/>
                  </a:lnTo>
                  <a:lnTo>
                    <a:pt x="7287" y="670"/>
                  </a:lnTo>
                  <a:lnTo>
                    <a:pt x="7227" y="631"/>
                  </a:lnTo>
                  <a:lnTo>
                    <a:pt x="7163" y="591"/>
                  </a:lnTo>
                  <a:lnTo>
                    <a:pt x="7096" y="551"/>
                  </a:lnTo>
                  <a:lnTo>
                    <a:pt x="7027" y="510"/>
                  </a:lnTo>
                  <a:lnTo>
                    <a:pt x="6953" y="469"/>
                  </a:lnTo>
                  <a:lnTo>
                    <a:pt x="6879" y="429"/>
                  </a:lnTo>
                  <a:lnTo>
                    <a:pt x="6801" y="389"/>
                  </a:lnTo>
                  <a:lnTo>
                    <a:pt x="6722" y="351"/>
                  </a:lnTo>
                  <a:lnTo>
                    <a:pt x="6642" y="316"/>
                  </a:lnTo>
                  <a:lnTo>
                    <a:pt x="6559" y="281"/>
                  </a:lnTo>
                  <a:lnTo>
                    <a:pt x="6477" y="249"/>
                  </a:lnTo>
                  <a:lnTo>
                    <a:pt x="6393" y="221"/>
                  </a:lnTo>
                  <a:lnTo>
                    <a:pt x="6308" y="195"/>
                  </a:lnTo>
                  <a:lnTo>
                    <a:pt x="6223" y="173"/>
                  </a:lnTo>
                  <a:lnTo>
                    <a:pt x="6139" y="154"/>
                  </a:lnTo>
                  <a:lnTo>
                    <a:pt x="6054" y="140"/>
                  </a:lnTo>
                  <a:lnTo>
                    <a:pt x="5970" y="131"/>
                  </a:lnTo>
                  <a:lnTo>
                    <a:pt x="5888" y="127"/>
                  </a:lnTo>
                  <a:lnTo>
                    <a:pt x="5805" y="129"/>
                  </a:lnTo>
                  <a:lnTo>
                    <a:pt x="5724" y="136"/>
                  </a:lnTo>
                  <a:lnTo>
                    <a:pt x="5646" y="149"/>
                  </a:lnTo>
                  <a:lnTo>
                    <a:pt x="5568" y="164"/>
                  </a:lnTo>
                  <a:lnTo>
                    <a:pt x="5490" y="177"/>
                  </a:lnTo>
                  <a:lnTo>
                    <a:pt x="5412" y="187"/>
                  </a:lnTo>
                  <a:lnTo>
                    <a:pt x="5335" y="194"/>
                  </a:lnTo>
                  <a:lnTo>
                    <a:pt x="5257" y="199"/>
                  </a:lnTo>
                  <a:lnTo>
                    <a:pt x="5181" y="202"/>
                  </a:lnTo>
                  <a:lnTo>
                    <a:pt x="5105" y="202"/>
                  </a:lnTo>
                  <a:lnTo>
                    <a:pt x="5031" y="201"/>
                  </a:lnTo>
                  <a:lnTo>
                    <a:pt x="4956" y="198"/>
                  </a:lnTo>
                  <a:lnTo>
                    <a:pt x="4885" y="194"/>
                  </a:lnTo>
                  <a:lnTo>
                    <a:pt x="4813" y="188"/>
                  </a:lnTo>
                  <a:lnTo>
                    <a:pt x="4744" y="181"/>
                  </a:lnTo>
                  <a:lnTo>
                    <a:pt x="4676" y="173"/>
                  </a:lnTo>
                  <a:lnTo>
                    <a:pt x="4611" y="162"/>
                  </a:lnTo>
                  <a:lnTo>
                    <a:pt x="4548" y="152"/>
                  </a:lnTo>
                  <a:lnTo>
                    <a:pt x="4487" y="142"/>
                  </a:lnTo>
                  <a:lnTo>
                    <a:pt x="4429" y="131"/>
                  </a:lnTo>
                  <a:lnTo>
                    <a:pt x="4372" y="119"/>
                  </a:lnTo>
                  <a:lnTo>
                    <a:pt x="4319" y="106"/>
                  </a:lnTo>
                  <a:lnTo>
                    <a:pt x="4268" y="95"/>
                  </a:lnTo>
                  <a:lnTo>
                    <a:pt x="4221" y="83"/>
                  </a:lnTo>
                  <a:lnTo>
                    <a:pt x="4177" y="71"/>
                  </a:lnTo>
                  <a:lnTo>
                    <a:pt x="4137" y="59"/>
                  </a:lnTo>
                  <a:lnTo>
                    <a:pt x="4100" y="49"/>
                  </a:lnTo>
                  <a:lnTo>
                    <a:pt x="4037" y="30"/>
                  </a:lnTo>
                  <a:lnTo>
                    <a:pt x="3991" y="14"/>
                  </a:lnTo>
                  <a:lnTo>
                    <a:pt x="3962" y="4"/>
                  </a:lnTo>
                  <a:lnTo>
                    <a:pt x="3952" y="0"/>
                  </a:lnTo>
                  <a:lnTo>
                    <a:pt x="2376" y="238"/>
                  </a:lnTo>
                </a:path>
              </a:pathLst>
            </a:custGeom>
            <a:solidFill>
              <a:schemeClr val="tx1"/>
            </a:solidFill>
            <a:ln w="0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466" name="Freeform 40"/>
            <p:cNvSpPr>
              <a:spLocks/>
            </p:cNvSpPr>
            <p:nvPr/>
          </p:nvSpPr>
          <p:spPr bwMode="auto">
            <a:xfrm>
              <a:off x="3578225" y="5311775"/>
              <a:ext cx="160338" cy="52388"/>
            </a:xfrm>
            <a:custGeom>
              <a:avLst/>
              <a:gdLst>
                <a:gd name="T0" fmla="*/ 0 w 2927"/>
                <a:gd name="T1" fmla="*/ 2147483647 h 973"/>
                <a:gd name="T2" fmla="*/ 2147483647 w 2927"/>
                <a:gd name="T3" fmla="*/ 0 h 973"/>
                <a:gd name="T4" fmla="*/ 2147483647 w 2927"/>
                <a:gd name="T5" fmla="*/ 2147483647 h 973"/>
                <a:gd name="T6" fmla="*/ 2147483647 w 2927"/>
                <a:gd name="T7" fmla="*/ 2147483647 h 973"/>
                <a:gd name="T8" fmla="*/ 2147483647 w 2927"/>
                <a:gd name="T9" fmla="*/ 2147483647 h 973"/>
                <a:gd name="T10" fmla="*/ 2147483647 w 2927"/>
                <a:gd name="T11" fmla="*/ 2147483647 h 973"/>
                <a:gd name="T12" fmla="*/ 2147483647 w 2927"/>
                <a:gd name="T13" fmla="*/ 2147483647 h 973"/>
                <a:gd name="T14" fmla="*/ 2147483647 w 2927"/>
                <a:gd name="T15" fmla="*/ 2147483647 h 973"/>
                <a:gd name="T16" fmla="*/ 2147483647 w 2927"/>
                <a:gd name="T17" fmla="*/ 2147483647 h 973"/>
                <a:gd name="T18" fmla="*/ 2147483647 w 2927"/>
                <a:gd name="T19" fmla="*/ 2147483647 h 973"/>
                <a:gd name="T20" fmla="*/ 2147483647 w 2927"/>
                <a:gd name="T21" fmla="*/ 2147483647 h 973"/>
                <a:gd name="T22" fmla="*/ 2147483647 w 2927"/>
                <a:gd name="T23" fmla="*/ 2147483647 h 973"/>
                <a:gd name="T24" fmla="*/ 2147483647 w 2927"/>
                <a:gd name="T25" fmla="*/ 2147483647 h 973"/>
                <a:gd name="T26" fmla="*/ 2147483647 w 2927"/>
                <a:gd name="T27" fmla="*/ 2147483647 h 973"/>
                <a:gd name="T28" fmla="*/ 2147483647 w 2927"/>
                <a:gd name="T29" fmla="*/ 2147483647 h 973"/>
                <a:gd name="T30" fmla="*/ 2147483647 w 2927"/>
                <a:gd name="T31" fmla="*/ 2147483647 h 973"/>
                <a:gd name="T32" fmla="*/ 2147483647 w 2927"/>
                <a:gd name="T33" fmla="*/ 2147483647 h 973"/>
                <a:gd name="T34" fmla="*/ 2147483647 w 2927"/>
                <a:gd name="T35" fmla="*/ 2147483647 h 973"/>
                <a:gd name="T36" fmla="*/ 2147483647 w 2927"/>
                <a:gd name="T37" fmla="*/ 2147483647 h 973"/>
                <a:gd name="T38" fmla="*/ 0 w 2927"/>
                <a:gd name="T39" fmla="*/ 2147483647 h 97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927"/>
                <a:gd name="T61" fmla="*/ 0 h 973"/>
                <a:gd name="T62" fmla="*/ 2927 w 2927"/>
                <a:gd name="T63" fmla="*/ 973 h 97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927" h="973">
                  <a:moveTo>
                    <a:pt x="0" y="705"/>
                  </a:moveTo>
                  <a:lnTo>
                    <a:pt x="2649" y="0"/>
                  </a:lnTo>
                  <a:lnTo>
                    <a:pt x="2927" y="186"/>
                  </a:lnTo>
                  <a:lnTo>
                    <a:pt x="333" y="973"/>
                  </a:lnTo>
                  <a:lnTo>
                    <a:pt x="315" y="953"/>
                  </a:lnTo>
                  <a:lnTo>
                    <a:pt x="296" y="932"/>
                  </a:lnTo>
                  <a:lnTo>
                    <a:pt x="276" y="912"/>
                  </a:lnTo>
                  <a:lnTo>
                    <a:pt x="257" y="893"/>
                  </a:lnTo>
                  <a:lnTo>
                    <a:pt x="237" y="874"/>
                  </a:lnTo>
                  <a:lnTo>
                    <a:pt x="217" y="856"/>
                  </a:lnTo>
                  <a:lnTo>
                    <a:pt x="197" y="837"/>
                  </a:lnTo>
                  <a:lnTo>
                    <a:pt x="176" y="821"/>
                  </a:lnTo>
                  <a:lnTo>
                    <a:pt x="155" y="804"/>
                  </a:lnTo>
                  <a:lnTo>
                    <a:pt x="133" y="788"/>
                  </a:lnTo>
                  <a:lnTo>
                    <a:pt x="112" y="773"/>
                  </a:lnTo>
                  <a:lnTo>
                    <a:pt x="91" y="758"/>
                  </a:lnTo>
                  <a:lnTo>
                    <a:pt x="68" y="743"/>
                  </a:lnTo>
                  <a:lnTo>
                    <a:pt x="46" y="730"/>
                  </a:lnTo>
                  <a:lnTo>
                    <a:pt x="23" y="717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cxnSp>
        <p:nvCxnSpPr>
          <p:cNvPr id="8" name="Прямая со стрелкой 160"/>
          <p:cNvCxnSpPr>
            <a:cxnSpLocks noChangeShapeType="1"/>
          </p:cNvCxnSpPr>
          <p:nvPr/>
        </p:nvCxnSpPr>
        <p:spPr bwMode="auto">
          <a:xfrm>
            <a:off x="5499100" y="2786063"/>
            <a:ext cx="369888" cy="1252537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301" name="Прямая со стрелкой 175"/>
          <p:cNvCxnSpPr>
            <a:cxnSpLocks noChangeShapeType="1"/>
          </p:cNvCxnSpPr>
          <p:nvPr/>
        </p:nvCxnSpPr>
        <p:spPr bwMode="auto">
          <a:xfrm flipV="1">
            <a:off x="5499100" y="4038600"/>
            <a:ext cx="369888" cy="6350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302" name="Прямая со стрелкой 187"/>
          <p:cNvCxnSpPr>
            <a:cxnSpLocks noChangeShapeType="1"/>
          </p:cNvCxnSpPr>
          <p:nvPr/>
        </p:nvCxnSpPr>
        <p:spPr bwMode="auto">
          <a:xfrm flipV="1">
            <a:off x="5499100" y="4038600"/>
            <a:ext cx="369888" cy="1181100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Скругленный прямоугольник 45"/>
          <p:cNvSpPr/>
          <p:nvPr/>
        </p:nvSpPr>
        <p:spPr>
          <a:xfrm>
            <a:off x="7050088" y="4833938"/>
            <a:ext cx="1712912" cy="67945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Санатории</a:t>
            </a:r>
          </a:p>
        </p:txBody>
      </p:sp>
      <p:pic>
        <p:nvPicPr>
          <p:cNvPr id="54304" name="Picture 66" descr="E:\Новая папка (2)\derevo2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4538" y="5241925"/>
            <a:ext cx="501650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Скругленный прямоугольник 42"/>
          <p:cNvSpPr/>
          <p:nvPr/>
        </p:nvSpPr>
        <p:spPr>
          <a:xfrm>
            <a:off x="6983413" y="2330450"/>
            <a:ext cx="1779587" cy="71278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rIns="36000"/>
          <a:lstStyle/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Высокотехнологичные </a:t>
            </a:r>
          </a:p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медицинские</a:t>
            </a:r>
          </a:p>
          <a:p>
            <a:pPr algn="ctr">
              <a:defRPr/>
            </a:pPr>
            <a:r>
              <a:rPr lang="ru-RU" sz="1100">
                <a:solidFill>
                  <a:srgbClr val="003366"/>
                </a:solidFill>
              </a:rPr>
              <a:t>центры</a:t>
            </a:r>
          </a:p>
        </p:txBody>
      </p:sp>
      <p:pic>
        <p:nvPicPr>
          <p:cNvPr id="54306" name="Picture 67" descr="E:\Новая папка (2)\Иконки.wmf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8313" y="2763838"/>
            <a:ext cx="636587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4307" name="Группа 267"/>
          <p:cNvGrpSpPr>
            <a:grpSpLocks/>
          </p:cNvGrpSpPr>
          <p:nvPr/>
        </p:nvGrpSpPr>
        <p:grpSpPr bwMode="auto">
          <a:xfrm>
            <a:off x="4346575" y="3759200"/>
            <a:ext cx="1152525" cy="973138"/>
            <a:chOff x="418547" y="5291163"/>
            <a:chExt cx="1153057" cy="973545"/>
          </a:xfrm>
        </p:grpSpPr>
        <p:sp>
          <p:nvSpPr>
            <p:cNvPr id="269" name="Скругленный прямоугольник 268"/>
            <p:cNvSpPr/>
            <p:nvPr/>
          </p:nvSpPr>
          <p:spPr>
            <a:xfrm>
              <a:off x="428076" y="5291163"/>
              <a:ext cx="1143528" cy="571739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ЛПУ</a:t>
              </a:r>
            </a:p>
            <a:p>
              <a:pPr algn="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первичного </a:t>
              </a:r>
            </a:p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звена</a:t>
              </a:r>
              <a:endParaRPr lang="ru-RU" sz="1100" dirty="0"/>
            </a:p>
          </p:txBody>
        </p:sp>
        <p:grpSp>
          <p:nvGrpSpPr>
            <p:cNvPr id="54438" name="Группа 269"/>
            <p:cNvGrpSpPr>
              <a:grpSpLocks/>
            </p:cNvGrpSpPr>
            <p:nvPr/>
          </p:nvGrpSpPr>
          <p:grpSpPr bwMode="auto">
            <a:xfrm flipH="1">
              <a:off x="418547" y="5546754"/>
              <a:ext cx="319588" cy="717954"/>
              <a:chOff x="928688" y="5000627"/>
              <a:chExt cx="566738" cy="1273176"/>
            </a:xfrm>
          </p:grpSpPr>
          <p:sp>
            <p:nvSpPr>
              <p:cNvPr id="54439" name="Freeform 8"/>
              <p:cNvSpPr>
                <a:spLocks/>
              </p:cNvSpPr>
              <p:nvPr/>
            </p:nvSpPr>
            <p:spPr bwMode="auto">
              <a:xfrm>
                <a:off x="928688" y="5243513"/>
                <a:ext cx="566737" cy="1030288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0" name="Freeform 9"/>
              <p:cNvSpPr>
                <a:spLocks/>
              </p:cNvSpPr>
              <p:nvPr/>
            </p:nvSpPr>
            <p:spPr bwMode="auto">
              <a:xfrm>
                <a:off x="928690" y="5243516"/>
                <a:ext cx="566736" cy="1030287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1" name="Freeform 10"/>
              <p:cNvSpPr>
                <a:spLocks/>
              </p:cNvSpPr>
              <p:nvPr/>
            </p:nvSpPr>
            <p:spPr bwMode="auto">
              <a:xfrm>
                <a:off x="1101725" y="5000627"/>
                <a:ext cx="225424" cy="236539"/>
              </a:xfrm>
              <a:custGeom>
                <a:avLst/>
                <a:gdLst>
                  <a:gd name="T0" fmla="*/ 2147483647 w 2821"/>
                  <a:gd name="T1" fmla="*/ 2147483647 h 2969"/>
                  <a:gd name="T2" fmla="*/ 2147483647 w 2821"/>
                  <a:gd name="T3" fmla="*/ 2147483647 h 2969"/>
                  <a:gd name="T4" fmla="*/ 2147483647 w 2821"/>
                  <a:gd name="T5" fmla="*/ 2147483647 h 2969"/>
                  <a:gd name="T6" fmla="*/ 2147483647 w 2821"/>
                  <a:gd name="T7" fmla="*/ 2147483647 h 2969"/>
                  <a:gd name="T8" fmla="*/ 2147483647 w 2821"/>
                  <a:gd name="T9" fmla="*/ 2147483647 h 2969"/>
                  <a:gd name="T10" fmla="*/ 2147483647 w 2821"/>
                  <a:gd name="T11" fmla="*/ 2147483647 h 2969"/>
                  <a:gd name="T12" fmla="*/ 2147483647 w 2821"/>
                  <a:gd name="T13" fmla="*/ 2147483647 h 2969"/>
                  <a:gd name="T14" fmla="*/ 2147483647 w 2821"/>
                  <a:gd name="T15" fmla="*/ 2147483647 h 2969"/>
                  <a:gd name="T16" fmla="*/ 2147483647 w 2821"/>
                  <a:gd name="T17" fmla="*/ 2147483647 h 2969"/>
                  <a:gd name="T18" fmla="*/ 2147483647 w 2821"/>
                  <a:gd name="T19" fmla="*/ 2147483647 h 2969"/>
                  <a:gd name="T20" fmla="*/ 2147483647 w 2821"/>
                  <a:gd name="T21" fmla="*/ 2147483647 h 2969"/>
                  <a:gd name="T22" fmla="*/ 2147483647 w 2821"/>
                  <a:gd name="T23" fmla="*/ 2147483647 h 2969"/>
                  <a:gd name="T24" fmla="*/ 2147483647 w 2821"/>
                  <a:gd name="T25" fmla="*/ 2147483647 h 2969"/>
                  <a:gd name="T26" fmla="*/ 2147483647 w 2821"/>
                  <a:gd name="T27" fmla="*/ 2147483647 h 2969"/>
                  <a:gd name="T28" fmla="*/ 2147483647 w 2821"/>
                  <a:gd name="T29" fmla="*/ 2147483647 h 2969"/>
                  <a:gd name="T30" fmla="*/ 2147483647 w 2821"/>
                  <a:gd name="T31" fmla="*/ 2147483647 h 2969"/>
                  <a:gd name="T32" fmla="*/ 2147483647 w 2821"/>
                  <a:gd name="T33" fmla="*/ 2147483647 h 2969"/>
                  <a:gd name="T34" fmla="*/ 2147483647 w 2821"/>
                  <a:gd name="T35" fmla="*/ 2147483647 h 2969"/>
                  <a:gd name="T36" fmla="*/ 2147483647 w 2821"/>
                  <a:gd name="T37" fmla="*/ 2147483647 h 2969"/>
                  <a:gd name="T38" fmla="*/ 2147483647 w 2821"/>
                  <a:gd name="T39" fmla="*/ 2147483647 h 2969"/>
                  <a:gd name="T40" fmla="*/ 2147483647 w 2821"/>
                  <a:gd name="T41" fmla="*/ 2147483647 h 2969"/>
                  <a:gd name="T42" fmla="*/ 2147483647 w 2821"/>
                  <a:gd name="T43" fmla="*/ 2147483647 h 2969"/>
                  <a:gd name="T44" fmla="*/ 2147483647 w 2821"/>
                  <a:gd name="T45" fmla="*/ 2147483647 h 2969"/>
                  <a:gd name="T46" fmla="*/ 2147483647 w 2821"/>
                  <a:gd name="T47" fmla="*/ 2147483647 h 2969"/>
                  <a:gd name="T48" fmla="*/ 2147483647 w 2821"/>
                  <a:gd name="T49" fmla="*/ 2147483647 h 2969"/>
                  <a:gd name="T50" fmla="*/ 2147483647 w 2821"/>
                  <a:gd name="T51" fmla="*/ 2147483647 h 2969"/>
                  <a:gd name="T52" fmla="*/ 2147483647 w 2821"/>
                  <a:gd name="T53" fmla="*/ 2147483647 h 2969"/>
                  <a:gd name="T54" fmla="*/ 2147483647 w 2821"/>
                  <a:gd name="T55" fmla="*/ 2147483647 h 2969"/>
                  <a:gd name="T56" fmla="*/ 2147483647 w 2821"/>
                  <a:gd name="T57" fmla="*/ 2147483647 h 2969"/>
                  <a:gd name="T58" fmla="*/ 2147483647 w 2821"/>
                  <a:gd name="T59" fmla="*/ 2147483647 h 2969"/>
                  <a:gd name="T60" fmla="*/ 2147483647 w 2821"/>
                  <a:gd name="T61" fmla="*/ 2147483647 h 2969"/>
                  <a:gd name="T62" fmla="*/ 2147483647 w 2821"/>
                  <a:gd name="T63" fmla="*/ 2147483647 h 2969"/>
                  <a:gd name="T64" fmla="*/ 2147483647 w 2821"/>
                  <a:gd name="T65" fmla="*/ 2147483647 h 2969"/>
                  <a:gd name="T66" fmla="*/ 2147483647 w 2821"/>
                  <a:gd name="T67" fmla="*/ 2147483647 h 2969"/>
                  <a:gd name="T68" fmla="*/ 2147483647 w 2821"/>
                  <a:gd name="T69" fmla="*/ 2147483647 h 2969"/>
                  <a:gd name="T70" fmla="*/ 2147483647 w 2821"/>
                  <a:gd name="T71" fmla="*/ 2147483647 h 2969"/>
                  <a:gd name="T72" fmla="*/ 2147483647 w 2821"/>
                  <a:gd name="T73" fmla="*/ 2147483647 h 2969"/>
                  <a:gd name="T74" fmla="*/ 2147483647 w 2821"/>
                  <a:gd name="T75" fmla="*/ 2147483647 h 2969"/>
                  <a:gd name="T76" fmla="*/ 2147483647 w 2821"/>
                  <a:gd name="T77" fmla="*/ 2147483647 h 2969"/>
                  <a:gd name="T78" fmla="*/ 2147483647 w 2821"/>
                  <a:gd name="T79" fmla="*/ 2147483647 h 2969"/>
                  <a:gd name="T80" fmla="*/ 2147483647 w 2821"/>
                  <a:gd name="T81" fmla="*/ 2147483647 h 2969"/>
                  <a:gd name="T82" fmla="*/ 2147483647 w 2821"/>
                  <a:gd name="T83" fmla="*/ 2147483647 h 2969"/>
                  <a:gd name="T84" fmla="*/ 2147483647 w 2821"/>
                  <a:gd name="T85" fmla="*/ 0 h 29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21"/>
                  <a:gd name="T130" fmla="*/ 0 h 2969"/>
                  <a:gd name="T131" fmla="*/ 2821 w 2821"/>
                  <a:gd name="T132" fmla="*/ 2969 h 29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21" h="2969">
                    <a:moveTo>
                      <a:pt x="1411" y="0"/>
                    </a:moveTo>
                    <a:lnTo>
                      <a:pt x="1483" y="2"/>
                    </a:lnTo>
                    <a:lnTo>
                      <a:pt x="1555" y="8"/>
                    </a:lnTo>
                    <a:lnTo>
                      <a:pt x="1625" y="17"/>
                    </a:lnTo>
                    <a:lnTo>
                      <a:pt x="1695" y="30"/>
                    </a:lnTo>
                    <a:lnTo>
                      <a:pt x="1763" y="47"/>
                    </a:lnTo>
                    <a:lnTo>
                      <a:pt x="1830" y="67"/>
                    </a:lnTo>
                    <a:lnTo>
                      <a:pt x="1895" y="90"/>
                    </a:lnTo>
                    <a:lnTo>
                      <a:pt x="1959" y="117"/>
                    </a:lnTo>
                    <a:lnTo>
                      <a:pt x="2022" y="146"/>
                    </a:lnTo>
                    <a:lnTo>
                      <a:pt x="2083" y="179"/>
                    </a:lnTo>
                    <a:lnTo>
                      <a:pt x="2142" y="216"/>
                    </a:lnTo>
                    <a:lnTo>
                      <a:pt x="2199" y="254"/>
                    </a:lnTo>
                    <a:lnTo>
                      <a:pt x="2254" y="296"/>
                    </a:lnTo>
                    <a:lnTo>
                      <a:pt x="2307" y="339"/>
                    </a:lnTo>
                    <a:lnTo>
                      <a:pt x="2359" y="386"/>
                    </a:lnTo>
                    <a:lnTo>
                      <a:pt x="2408" y="435"/>
                    </a:lnTo>
                    <a:lnTo>
                      <a:pt x="2454" y="487"/>
                    </a:lnTo>
                    <a:lnTo>
                      <a:pt x="2499" y="540"/>
                    </a:lnTo>
                    <a:lnTo>
                      <a:pt x="2540" y="597"/>
                    </a:lnTo>
                    <a:lnTo>
                      <a:pt x="2579" y="655"/>
                    </a:lnTo>
                    <a:lnTo>
                      <a:pt x="2616" y="715"/>
                    </a:lnTo>
                    <a:lnTo>
                      <a:pt x="2651" y="777"/>
                    </a:lnTo>
                    <a:lnTo>
                      <a:pt x="2682" y="841"/>
                    </a:lnTo>
                    <a:lnTo>
                      <a:pt x="2710" y="907"/>
                    </a:lnTo>
                    <a:lnTo>
                      <a:pt x="2735" y="974"/>
                    </a:lnTo>
                    <a:lnTo>
                      <a:pt x="2757" y="1044"/>
                    </a:lnTo>
                    <a:lnTo>
                      <a:pt x="2776" y="1114"/>
                    </a:lnTo>
                    <a:lnTo>
                      <a:pt x="2792" y="1186"/>
                    </a:lnTo>
                    <a:lnTo>
                      <a:pt x="2804" y="1259"/>
                    </a:lnTo>
                    <a:lnTo>
                      <a:pt x="2813" y="1333"/>
                    </a:lnTo>
                    <a:lnTo>
                      <a:pt x="2819" y="1409"/>
                    </a:lnTo>
                    <a:lnTo>
                      <a:pt x="2821" y="1485"/>
                    </a:lnTo>
                    <a:lnTo>
                      <a:pt x="2819" y="1561"/>
                    </a:lnTo>
                    <a:lnTo>
                      <a:pt x="2813" y="1637"/>
                    </a:lnTo>
                    <a:lnTo>
                      <a:pt x="2804" y="1711"/>
                    </a:lnTo>
                    <a:lnTo>
                      <a:pt x="2792" y="1784"/>
                    </a:lnTo>
                    <a:lnTo>
                      <a:pt x="2776" y="1856"/>
                    </a:lnTo>
                    <a:lnTo>
                      <a:pt x="2757" y="1926"/>
                    </a:lnTo>
                    <a:lnTo>
                      <a:pt x="2735" y="1995"/>
                    </a:lnTo>
                    <a:lnTo>
                      <a:pt x="2710" y="2063"/>
                    </a:lnTo>
                    <a:lnTo>
                      <a:pt x="2682" y="2128"/>
                    </a:lnTo>
                    <a:lnTo>
                      <a:pt x="2651" y="2192"/>
                    </a:lnTo>
                    <a:lnTo>
                      <a:pt x="2616" y="2255"/>
                    </a:lnTo>
                    <a:lnTo>
                      <a:pt x="2579" y="2315"/>
                    </a:lnTo>
                    <a:lnTo>
                      <a:pt x="2540" y="2373"/>
                    </a:lnTo>
                    <a:lnTo>
                      <a:pt x="2499" y="2429"/>
                    </a:lnTo>
                    <a:lnTo>
                      <a:pt x="2454" y="2483"/>
                    </a:lnTo>
                    <a:lnTo>
                      <a:pt x="2408" y="2534"/>
                    </a:lnTo>
                    <a:lnTo>
                      <a:pt x="2359" y="2583"/>
                    </a:lnTo>
                    <a:lnTo>
                      <a:pt x="2307" y="2631"/>
                    </a:lnTo>
                    <a:lnTo>
                      <a:pt x="2254" y="2675"/>
                    </a:lnTo>
                    <a:lnTo>
                      <a:pt x="2199" y="2716"/>
                    </a:lnTo>
                    <a:lnTo>
                      <a:pt x="2142" y="2755"/>
                    </a:lnTo>
                    <a:lnTo>
                      <a:pt x="2083" y="2790"/>
                    </a:lnTo>
                    <a:lnTo>
                      <a:pt x="2022" y="2823"/>
                    </a:lnTo>
                    <a:lnTo>
                      <a:pt x="1959" y="2853"/>
                    </a:lnTo>
                    <a:lnTo>
                      <a:pt x="1895" y="2879"/>
                    </a:lnTo>
                    <a:lnTo>
                      <a:pt x="1830" y="2902"/>
                    </a:lnTo>
                    <a:lnTo>
                      <a:pt x="1763" y="2922"/>
                    </a:lnTo>
                    <a:lnTo>
                      <a:pt x="1695" y="2939"/>
                    </a:lnTo>
                    <a:lnTo>
                      <a:pt x="1625" y="2952"/>
                    </a:lnTo>
                    <a:lnTo>
                      <a:pt x="1555" y="2961"/>
                    </a:lnTo>
                    <a:lnTo>
                      <a:pt x="1483" y="2967"/>
                    </a:lnTo>
                    <a:lnTo>
                      <a:pt x="1411" y="2969"/>
                    </a:lnTo>
                    <a:lnTo>
                      <a:pt x="1338" y="2967"/>
                    </a:lnTo>
                    <a:lnTo>
                      <a:pt x="1266" y="2961"/>
                    </a:lnTo>
                    <a:lnTo>
                      <a:pt x="1196" y="2952"/>
                    </a:lnTo>
                    <a:lnTo>
                      <a:pt x="1127" y="2939"/>
                    </a:lnTo>
                    <a:lnTo>
                      <a:pt x="1058" y="2922"/>
                    </a:lnTo>
                    <a:lnTo>
                      <a:pt x="991" y="2902"/>
                    </a:lnTo>
                    <a:lnTo>
                      <a:pt x="926" y="2879"/>
                    </a:lnTo>
                    <a:lnTo>
                      <a:pt x="862" y="2853"/>
                    </a:lnTo>
                    <a:lnTo>
                      <a:pt x="800" y="2823"/>
                    </a:lnTo>
                    <a:lnTo>
                      <a:pt x="738" y="2790"/>
                    </a:lnTo>
                    <a:lnTo>
                      <a:pt x="679" y="2755"/>
                    </a:lnTo>
                    <a:lnTo>
                      <a:pt x="622" y="2716"/>
                    </a:lnTo>
                    <a:lnTo>
                      <a:pt x="567" y="2675"/>
                    </a:lnTo>
                    <a:lnTo>
                      <a:pt x="514" y="2631"/>
                    </a:lnTo>
                    <a:lnTo>
                      <a:pt x="463" y="2583"/>
                    </a:lnTo>
                    <a:lnTo>
                      <a:pt x="413" y="2534"/>
                    </a:lnTo>
                    <a:lnTo>
                      <a:pt x="367" y="2483"/>
                    </a:lnTo>
                    <a:lnTo>
                      <a:pt x="322" y="2429"/>
                    </a:lnTo>
                    <a:lnTo>
                      <a:pt x="281" y="2373"/>
                    </a:lnTo>
                    <a:lnTo>
                      <a:pt x="242" y="2315"/>
                    </a:lnTo>
                    <a:lnTo>
                      <a:pt x="205" y="2255"/>
                    </a:lnTo>
                    <a:lnTo>
                      <a:pt x="171" y="2192"/>
                    </a:lnTo>
                    <a:lnTo>
                      <a:pt x="140" y="2128"/>
                    </a:lnTo>
                    <a:lnTo>
                      <a:pt x="111" y="2063"/>
                    </a:lnTo>
                    <a:lnTo>
                      <a:pt x="86" y="1995"/>
                    </a:lnTo>
                    <a:lnTo>
                      <a:pt x="64" y="1926"/>
                    </a:lnTo>
                    <a:lnTo>
                      <a:pt x="45" y="1856"/>
                    </a:lnTo>
                    <a:lnTo>
                      <a:pt x="29" y="1784"/>
                    </a:lnTo>
                    <a:lnTo>
                      <a:pt x="17" y="1711"/>
                    </a:lnTo>
                    <a:lnTo>
                      <a:pt x="8" y="1637"/>
                    </a:lnTo>
                    <a:lnTo>
                      <a:pt x="2" y="1561"/>
                    </a:lnTo>
                    <a:lnTo>
                      <a:pt x="0" y="1485"/>
                    </a:lnTo>
                    <a:lnTo>
                      <a:pt x="2" y="1409"/>
                    </a:lnTo>
                    <a:lnTo>
                      <a:pt x="8" y="1333"/>
                    </a:lnTo>
                    <a:lnTo>
                      <a:pt x="17" y="1259"/>
                    </a:lnTo>
                    <a:lnTo>
                      <a:pt x="29" y="1186"/>
                    </a:lnTo>
                    <a:lnTo>
                      <a:pt x="45" y="1114"/>
                    </a:lnTo>
                    <a:lnTo>
                      <a:pt x="64" y="1044"/>
                    </a:lnTo>
                    <a:lnTo>
                      <a:pt x="86" y="974"/>
                    </a:lnTo>
                    <a:lnTo>
                      <a:pt x="111" y="907"/>
                    </a:lnTo>
                    <a:lnTo>
                      <a:pt x="140" y="841"/>
                    </a:lnTo>
                    <a:lnTo>
                      <a:pt x="171" y="777"/>
                    </a:lnTo>
                    <a:lnTo>
                      <a:pt x="205" y="715"/>
                    </a:lnTo>
                    <a:lnTo>
                      <a:pt x="242" y="655"/>
                    </a:lnTo>
                    <a:lnTo>
                      <a:pt x="281" y="597"/>
                    </a:lnTo>
                    <a:lnTo>
                      <a:pt x="322" y="540"/>
                    </a:lnTo>
                    <a:lnTo>
                      <a:pt x="367" y="487"/>
                    </a:lnTo>
                    <a:lnTo>
                      <a:pt x="413" y="435"/>
                    </a:lnTo>
                    <a:lnTo>
                      <a:pt x="463" y="386"/>
                    </a:lnTo>
                    <a:lnTo>
                      <a:pt x="514" y="339"/>
                    </a:lnTo>
                    <a:lnTo>
                      <a:pt x="567" y="296"/>
                    </a:lnTo>
                    <a:lnTo>
                      <a:pt x="622" y="254"/>
                    </a:lnTo>
                    <a:lnTo>
                      <a:pt x="679" y="216"/>
                    </a:lnTo>
                    <a:lnTo>
                      <a:pt x="738" y="179"/>
                    </a:lnTo>
                    <a:lnTo>
                      <a:pt x="800" y="146"/>
                    </a:lnTo>
                    <a:lnTo>
                      <a:pt x="862" y="117"/>
                    </a:lnTo>
                    <a:lnTo>
                      <a:pt x="926" y="90"/>
                    </a:lnTo>
                    <a:lnTo>
                      <a:pt x="991" y="67"/>
                    </a:lnTo>
                    <a:lnTo>
                      <a:pt x="1058" y="47"/>
                    </a:lnTo>
                    <a:lnTo>
                      <a:pt x="1127" y="30"/>
                    </a:lnTo>
                    <a:lnTo>
                      <a:pt x="1196" y="17"/>
                    </a:lnTo>
                    <a:lnTo>
                      <a:pt x="1266" y="8"/>
                    </a:lnTo>
                    <a:lnTo>
                      <a:pt x="1338" y="2"/>
                    </a:lnTo>
                    <a:lnTo>
                      <a:pt x="1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1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2" name="Freeform 11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3" name="Freeform 12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4" name="Freeform 13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solidFill>
                <a:srgbClr val="AA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5" name="Freeform 14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6" name="Freeform 15"/>
              <p:cNvSpPr>
                <a:spLocks/>
              </p:cNvSpPr>
              <p:nvPr/>
            </p:nvSpPr>
            <p:spPr bwMode="auto">
              <a:xfrm>
                <a:off x="1311275" y="5405438"/>
                <a:ext cx="169862" cy="114300"/>
              </a:xfrm>
              <a:custGeom>
                <a:avLst/>
                <a:gdLst>
                  <a:gd name="T0" fmla="*/ 2147483647 w 2144"/>
                  <a:gd name="T1" fmla="*/ 2147483647 h 1454"/>
                  <a:gd name="T2" fmla="*/ 2147483647 w 2144"/>
                  <a:gd name="T3" fmla="*/ 2147483647 h 1454"/>
                  <a:gd name="T4" fmla="*/ 2147483647 w 2144"/>
                  <a:gd name="T5" fmla="*/ 2147483647 h 1454"/>
                  <a:gd name="T6" fmla="*/ 2147483647 w 2144"/>
                  <a:gd name="T7" fmla="*/ 2147483647 h 1454"/>
                  <a:gd name="T8" fmla="*/ 2147483647 w 2144"/>
                  <a:gd name="T9" fmla="*/ 2147483647 h 1454"/>
                  <a:gd name="T10" fmla="*/ 2147483647 w 2144"/>
                  <a:gd name="T11" fmla="*/ 2147483647 h 1454"/>
                  <a:gd name="T12" fmla="*/ 2147483647 w 2144"/>
                  <a:gd name="T13" fmla="*/ 2147483647 h 1454"/>
                  <a:gd name="T14" fmla="*/ 2147483647 w 2144"/>
                  <a:gd name="T15" fmla="*/ 2147483647 h 1454"/>
                  <a:gd name="T16" fmla="*/ 2147483647 w 2144"/>
                  <a:gd name="T17" fmla="*/ 2147483647 h 1454"/>
                  <a:gd name="T18" fmla="*/ 2147483647 w 2144"/>
                  <a:gd name="T19" fmla="*/ 2147483647 h 1454"/>
                  <a:gd name="T20" fmla="*/ 2147483647 w 2144"/>
                  <a:gd name="T21" fmla="*/ 2147483647 h 1454"/>
                  <a:gd name="T22" fmla="*/ 2147483647 w 2144"/>
                  <a:gd name="T23" fmla="*/ 2147483647 h 1454"/>
                  <a:gd name="T24" fmla="*/ 2147483647 w 2144"/>
                  <a:gd name="T25" fmla="*/ 2147483647 h 1454"/>
                  <a:gd name="T26" fmla="*/ 2147483647 w 2144"/>
                  <a:gd name="T27" fmla="*/ 2147483647 h 1454"/>
                  <a:gd name="T28" fmla="*/ 2147483647 w 2144"/>
                  <a:gd name="T29" fmla="*/ 2147483647 h 1454"/>
                  <a:gd name="T30" fmla="*/ 2147483647 w 2144"/>
                  <a:gd name="T31" fmla="*/ 2147483647 h 1454"/>
                  <a:gd name="T32" fmla="*/ 2147483647 w 2144"/>
                  <a:gd name="T33" fmla="*/ 2147483647 h 1454"/>
                  <a:gd name="T34" fmla="*/ 2147483647 w 2144"/>
                  <a:gd name="T35" fmla="*/ 2147483647 h 1454"/>
                  <a:gd name="T36" fmla="*/ 2147483647 w 2144"/>
                  <a:gd name="T37" fmla="*/ 2147483647 h 1454"/>
                  <a:gd name="T38" fmla="*/ 2147483647 w 2144"/>
                  <a:gd name="T39" fmla="*/ 2147483647 h 1454"/>
                  <a:gd name="T40" fmla="*/ 2147483647 w 2144"/>
                  <a:gd name="T41" fmla="*/ 2147483647 h 1454"/>
                  <a:gd name="T42" fmla="*/ 2147483647 w 2144"/>
                  <a:gd name="T43" fmla="*/ 2147483647 h 1454"/>
                  <a:gd name="T44" fmla="*/ 2147483647 w 2144"/>
                  <a:gd name="T45" fmla="*/ 2147483647 h 1454"/>
                  <a:gd name="T46" fmla="*/ 2147483647 w 2144"/>
                  <a:gd name="T47" fmla="*/ 2147483647 h 1454"/>
                  <a:gd name="T48" fmla="*/ 2147483647 w 2144"/>
                  <a:gd name="T49" fmla="*/ 2147483647 h 1454"/>
                  <a:gd name="T50" fmla="*/ 2147483647 w 2144"/>
                  <a:gd name="T51" fmla="*/ 2147483647 h 1454"/>
                  <a:gd name="T52" fmla="*/ 2147483647 w 2144"/>
                  <a:gd name="T53" fmla="*/ 2147483647 h 1454"/>
                  <a:gd name="T54" fmla="*/ 2147483647 w 2144"/>
                  <a:gd name="T55" fmla="*/ 2147483647 h 1454"/>
                  <a:gd name="T56" fmla="*/ 2147483647 w 2144"/>
                  <a:gd name="T57" fmla="*/ 2147483647 h 1454"/>
                  <a:gd name="T58" fmla="*/ 2147483647 w 2144"/>
                  <a:gd name="T59" fmla="*/ 2147483647 h 1454"/>
                  <a:gd name="T60" fmla="*/ 2147483647 w 2144"/>
                  <a:gd name="T61" fmla="*/ 2147483647 h 1454"/>
                  <a:gd name="T62" fmla="*/ 2147483647 w 2144"/>
                  <a:gd name="T63" fmla="*/ 2147483647 h 1454"/>
                  <a:gd name="T64" fmla="*/ 2147483647 w 2144"/>
                  <a:gd name="T65" fmla="*/ 2147483647 h 1454"/>
                  <a:gd name="T66" fmla="*/ 2147483647 w 2144"/>
                  <a:gd name="T67" fmla="*/ 2147483647 h 1454"/>
                  <a:gd name="T68" fmla="*/ 2147483647 w 2144"/>
                  <a:gd name="T69" fmla="*/ 2147483647 h 1454"/>
                  <a:gd name="T70" fmla="*/ 2147483647 w 2144"/>
                  <a:gd name="T71" fmla="*/ 2147483647 h 1454"/>
                  <a:gd name="T72" fmla="*/ 2147483647 w 2144"/>
                  <a:gd name="T73" fmla="*/ 2147483647 h 1454"/>
                  <a:gd name="T74" fmla="*/ 2147483647 w 2144"/>
                  <a:gd name="T75" fmla="*/ 2147483647 h 1454"/>
                  <a:gd name="T76" fmla="*/ 2147483647 w 2144"/>
                  <a:gd name="T77" fmla="*/ 2147483647 h 1454"/>
                  <a:gd name="T78" fmla="*/ 2147483647 w 2144"/>
                  <a:gd name="T79" fmla="*/ 2147483647 h 1454"/>
                  <a:gd name="T80" fmla="*/ 2147483647 w 2144"/>
                  <a:gd name="T81" fmla="*/ 2147483647 h 1454"/>
                  <a:gd name="T82" fmla="*/ 2147483647 w 2144"/>
                  <a:gd name="T83" fmla="*/ 2147483647 h 1454"/>
                  <a:gd name="T84" fmla="*/ 2147483647 w 2144"/>
                  <a:gd name="T85" fmla="*/ 2147483647 h 1454"/>
                  <a:gd name="T86" fmla="*/ 2147483647 w 2144"/>
                  <a:gd name="T87" fmla="*/ 2147483647 h 1454"/>
                  <a:gd name="T88" fmla="*/ 2147483647 w 2144"/>
                  <a:gd name="T89" fmla="*/ 2147483647 h 1454"/>
                  <a:gd name="T90" fmla="*/ 2147483647 w 2144"/>
                  <a:gd name="T91" fmla="*/ 2147483647 h 1454"/>
                  <a:gd name="T92" fmla="*/ 2147483647 w 2144"/>
                  <a:gd name="T93" fmla="*/ 0 h 1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44"/>
                  <a:gd name="T142" fmla="*/ 0 h 1454"/>
                  <a:gd name="T143" fmla="*/ 2144 w 2144"/>
                  <a:gd name="T144" fmla="*/ 1454 h 1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44" h="1454">
                    <a:moveTo>
                      <a:pt x="931" y="115"/>
                    </a:moveTo>
                    <a:lnTo>
                      <a:pt x="255" y="517"/>
                    </a:lnTo>
                    <a:lnTo>
                      <a:pt x="133" y="624"/>
                    </a:lnTo>
                    <a:lnTo>
                      <a:pt x="125" y="635"/>
                    </a:lnTo>
                    <a:lnTo>
                      <a:pt x="106" y="666"/>
                    </a:lnTo>
                    <a:lnTo>
                      <a:pt x="94" y="689"/>
                    </a:lnTo>
                    <a:lnTo>
                      <a:pt x="80" y="715"/>
                    </a:lnTo>
                    <a:lnTo>
                      <a:pt x="66" y="746"/>
                    </a:lnTo>
                    <a:lnTo>
                      <a:pt x="52" y="779"/>
                    </a:lnTo>
                    <a:lnTo>
                      <a:pt x="38" y="815"/>
                    </a:lnTo>
                    <a:lnTo>
                      <a:pt x="26" y="853"/>
                    </a:lnTo>
                    <a:lnTo>
                      <a:pt x="20" y="872"/>
                    </a:lnTo>
                    <a:lnTo>
                      <a:pt x="15" y="892"/>
                    </a:lnTo>
                    <a:lnTo>
                      <a:pt x="11" y="913"/>
                    </a:lnTo>
                    <a:lnTo>
                      <a:pt x="7" y="934"/>
                    </a:lnTo>
                    <a:lnTo>
                      <a:pt x="4" y="955"/>
                    </a:lnTo>
                    <a:lnTo>
                      <a:pt x="2" y="976"/>
                    </a:lnTo>
                    <a:lnTo>
                      <a:pt x="1" y="998"/>
                    </a:lnTo>
                    <a:lnTo>
                      <a:pt x="0" y="1019"/>
                    </a:lnTo>
                    <a:lnTo>
                      <a:pt x="1" y="1041"/>
                    </a:lnTo>
                    <a:lnTo>
                      <a:pt x="3" y="1063"/>
                    </a:lnTo>
                    <a:lnTo>
                      <a:pt x="6" y="1085"/>
                    </a:lnTo>
                    <a:lnTo>
                      <a:pt x="10" y="1106"/>
                    </a:lnTo>
                    <a:lnTo>
                      <a:pt x="15" y="1129"/>
                    </a:lnTo>
                    <a:lnTo>
                      <a:pt x="23" y="1152"/>
                    </a:lnTo>
                    <a:lnTo>
                      <a:pt x="31" y="1175"/>
                    </a:lnTo>
                    <a:lnTo>
                      <a:pt x="42" y="1199"/>
                    </a:lnTo>
                    <a:lnTo>
                      <a:pt x="54" y="1223"/>
                    </a:lnTo>
                    <a:lnTo>
                      <a:pt x="68" y="1247"/>
                    </a:lnTo>
                    <a:lnTo>
                      <a:pt x="83" y="1271"/>
                    </a:lnTo>
                    <a:lnTo>
                      <a:pt x="100" y="1295"/>
                    </a:lnTo>
                    <a:lnTo>
                      <a:pt x="118" y="1318"/>
                    </a:lnTo>
                    <a:lnTo>
                      <a:pt x="138" y="1340"/>
                    </a:lnTo>
                    <a:lnTo>
                      <a:pt x="159" y="1361"/>
                    </a:lnTo>
                    <a:lnTo>
                      <a:pt x="182" y="1381"/>
                    </a:lnTo>
                    <a:lnTo>
                      <a:pt x="194" y="1391"/>
                    </a:lnTo>
                    <a:lnTo>
                      <a:pt x="206" y="1400"/>
                    </a:lnTo>
                    <a:lnTo>
                      <a:pt x="219" y="1409"/>
                    </a:lnTo>
                    <a:lnTo>
                      <a:pt x="232" y="1417"/>
                    </a:lnTo>
                    <a:lnTo>
                      <a:pt x="246" y="1425"/>
                    </a:lnTo>
                    <a:lnTo>
                      <a:pt x="259" y="1432"/>
                    </a:lnTo>
                    <a:lnTo>
                      <a:pt x="273" y="1439"/>
                    </a:lnTo>
                    <a:lnTo>
                      <a:pt x="288" y="1445"/>
                    </a:lnTo>
                    <a:lnTo>
                      <a:pt x="299" y="1449"/>
                    </a:lnTo>
                    <a:lnTo>
                      <a:pt x="312" y="1451"/>
                    </a:lnTo>
                    <a:lnTo>
                      <a:pt x="324" y="1453"/>
                    </a:lnTo>
                    <a:lnTo>
                      <a:pt x="336" y="1454"/>
                    </a:lnTo>
                    <a:lnTo>
                      <a:pt x="361" y="1454"/>
                    </a:lnTo>
                    <a:lnTo>
                      <a:pt x="387" y="1452"/>
                    </a:lnTo>
                    <a:lnTo>
                      <a:pt x="413" y="1448"/>
                    </a:lnTo>
                    <a:lnTo>
                      <a:pt x="441" y="1445"/>
                    </a:lnTo>
                    <a:lnTo>
                      <a:pt x="455" y="1444"/>
                    </a:lnTo>
                    <a:lnTo>
                      <a:pt x="469" y="1444"/>
                    </a:lnTo>
                    <a:lnTo>
                      <a:pt x="483" y="1444"/>
                    </a:lnTo>
                    <a:lnTo>
                      <a:pt x="498" y="1445"/>
                    </a:lnTo>
                    <a:lnTo>
                      <a:pt x="528" y="1446"/>
                    </a:lnTo>
                    <a:lnTo>
                      <a:pt x="560" y="1445"/>
                    </a:lnTo>
                    <a:lnTo>
                      <a:pt x="592" y="1443"/>
                    </a:lnTo>
                    <a:lnTo>
                      <a:pt x="626" y="1438"/>
                    </a:lnTo>
                    <a:lnTo>
                      <a:pt x="659" y="1432"/>
                    </a:lnTo>
                    <a:lnTo>
                      <a:pt x="694" y="1425"/>
                    </a:lnTo>
                    <a:lnTo>
                      <a:pt x="729" y="1416"/>
                    </a:lnTo>
                    <a:lnTo>
                      <a:pt x="764" y="1405"/>
                    </a:lnTo>
                    <a:lnTo>
                      <a:pt x="800" y="1393"/>
                    </a:lnTo>
                    <a:lnTo>
                      <a:pt x="836" y="1380"/>
                    </a:lnTo>
                    <a:lnTo>
                      <a:pt x="873" y="1365"/>
                    </a:lnTo>
                    <a:lnTo>
                      <a:pt x="910" y="1350"/>
                    </a:lnTo>
                    <a:lnTo>
                      <a:pt x="948" y="1333"/>
                    </a:lnTo>
                    <a:lnTo>
                      <a:pt x="985" y="1315"/>
                    </a:lnTo>
                    <a:lnTo>
                      <a:pt x="1022" y="1296"/>
                    </a:lnTo>
                    <a:lnTo>
                      <a:pt x="1060" y="1277"/>
                    </a:lnTo>
                    <a:lnTo>
                      <a:pt x="1097" y="1257"/>
                    </a:lnTo>
                    <a:lnTo>
                      <a:pt x="1134" y="1236"/>
                    </a:lnTo>
                    <a:lnTo>
                      <a:pt x="1171" y="1214"/>
                    </a:lnTo>
                    <a:lnTo>
                      <a:pt x="1208" y="1192"/>
                    </a:lnTo>
                    <a:lnTo>
                      <a:pt x="1282" y="1147"/>
                    </a:lnTo>
                    <a:lnTo>
                      <a:pt x="1354" y="1100"/>
                    </a:lnTo>
                    <a:lnTo>
                      <a:pt x="1424" y="1053"/>
                    </a:lnTo>
                    <a:lnTo>
                      <a:pt x="1491" y="1006"/>
                    </a:lnTo>
                    <a:lnTo>
                      <a:pt x="1556" y="961"/>
                    </a:lnTo>
                    <a:lnTo>
                      <a:pt x="1617" y="916"/>
                    </a:lnTo>
                    <a:lnTo>
                      <a:pt x="1681" y="868"/>
                    </a:lnTo>
                    <a:lnTo>
                      <a:pt x="1741" y="822"/>
                    </a:lnTo>
                    <a:lnTo>
                      <a:pt x="1797" y="778"/>
                    </a:lnTo>
                    <a:lnTo>
                      <a:pt x="1849" y="737"/>
                    </a:lnTo>
                    <a:lnTo>
                      <a:pt x="1897" y="697"/>
                    </a:lnTo>
                    <a:lnTo>
                      <a:pt x="1940" y="661"/>
                    </a:lnTo>
                    <a:lnTo>
                      <a:pt x="1979" y="627"/>
                    </a:lnTo>
                    <a:lnTo>
                      <a:pt x="2014" y="597"/>
                    </a:lnTo>
                    <a:lnTo>
                      <a:pt x="2071" y="545"/>
                    </a:lnTo>
                    <a:lnTo>
                      <a:pt x="2112" y="507"/>
                    </a:lnTo>
                    <a:lnTo>
                      <a:pt x="2136" y="483"/>
                    </a:lnTo>
                    <a:lnTo>
                      <a:pt x="2144" y="475"/>
                    </a:lnTo>
                    <a:lnTo>
                      <a:pt x="1554" y="0"/>
                    </a:lnTo>
                    <a:lnTo>
                      <a:pt x="93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7" name="Freeform 16"/>
              <p:cNvSpPr>
                <a:spLocks/>
              </p:cNvSpPr>
              <p:nvPr/>
            </p:nvSpPr>
            <p:spPr bwMode="auto">
              <a:xfrm>
                <a:off x="1311275" y="5416550"/>
                <a:ext cx="171450" cy="104775"/>
              </a:xfrm>
              <a:custGeom>
                <a:avLst/>
                <a:gdLst>
                  <a:gd name="T0" fmla="*/ 2147483647 w 2152"/>
                  <a:gd name="T1" fmla="*/ 2147483647 h 1326"/>
                  <a:gd name="T2" fmla="*/ 2147483647 w 2152"/>
                  <a:gd name="T3" fmla="*/ 2147483647 h 1326"/>
                  <a:gd name="T4" fmla="*/ 2147483647 w 2152"/>
                  <a:gd name="T5" fmla="*/ 2147483647 h 1326"/>
                  <a:gd name="T6" fmla="*/ 2147483647 w 2152"/>
                  <a:gd name="T7" fmla="*/ 2147483647 h 1326"/>
                  <a:gd name="T8" fmla="*/ 2147483647 w 2152"/>
                  <a:gd name="T9" fmla="*/ 2147483647 h 1326"/>
                  <a:gd name="T10" fmla="*/ 2147483647 w 2152"/>
                  <a:gd name="T11" fmla="*/ 2147483647 h 1326"/>
                  <a:gd name="T12" fmla="*/ 2147483647 w 2152"/>
                  <a:gd name="T13" fmla="*/ 2147483647 h 1326"/>
                  <a:gd name="T14" fmla="*/ 2147483647 w 2152"/>
                  <a:gd name="T15" fmla="*/ 2147483647 h 1326"/>
                  <a:gd name="T16" fmla="*/ 2147483647 w 2152"/>
                  <a:gd name="T17" fmla="*/ 2147483647 h 1326"/>
                  <a:gd name="T18" fmla="*/ 2147483647 w 2152"/>
                  <a:gd name="T19" fmla="*/ 2147483647 h 1326"/>
                  <a:gd name="T20" fmla="*/ 2147483647 w 2152"/>
                  <a:gd name="T21" fmla="*/ 2147483647 h 1326"/>
                  <a:gd name="T22" fmla="*/ 2147483647 w 2152"/>
                  <a:gd name="T23" fmla="*/ 2147483647 h 1326"/>
                  <a:gd name="T24" fmla="*/ 2147483647 w 2152"/>
                  <a:gd name="T25" fmla="*/ 2147483647 h 1326"/>
                  <a:gd name="T26" fmla="*/ 2147483647 w 2152"/>
                  <a:gd name="T27" fmla="*/ 2147483647 h 1326"/>
                  <a:gd name="T28" fmla="*/ 2147483647 w 2152"/>
                  <a:gd name="T29" fmla="*/ 2147483647 h 1326"/>
                  <a:gd name="T30" fmla="*/ 2147483647 w 2152"/>
                  <a:gd name="T31" fmla="*/ 2147483647 h 1326"/>
                  <a:gd name="T32" fmla="*/ 2147483647 w 2152"/>
                  <a:gd name="T33" fmla="*/ 2147483647 h 1326"/>
                  <a:gd name="T34" fmla="*/ 2147483647 w 2152"/>
                  <a:gd name="T35" fmla="*/ 2147483647 h 1326"/>
                  <a:gd name="T36" fmla="*/ 0 w 2152"/>
                  <a:gd name="T37" fmla="*/ 2147483647 h 1326"/>
                  <a:gd name="T38" fmla="*/ 2147483647 w 2152"/>
                  <a:gd name="T39" fmla="*/ 2147483647 h 1326"/>
                  <a:gd name="T40" fmla="*/ 2147483647 w 2152"/>
                  <a:gd name="T41" fmla="*/ 2147483647 h 1326"/>
                  <a:gd name="T42" fmla="*/ 2147483647 w 2152"/>
                  <a:gd name="T43" fmla="*/ 2147483647 h 1326"/>
                  <a:gd name="T44" fmla="*/ 2147483647 w 2152"/>
                  <a:gd name="T45" fmla="*/ 2147483647 h 1326"/>
                  <a:gd name="T46" fmla="*/ 2147483647 w 2152"/>
                  <a:gd name="T47" fmla="*/ 2147483647 h 1326"/>
                  <a:gd name="T48" fmla="*/ 2147483647 w 2152"/>
                  <a:gd name="T49" fmla="*/ 2147483647 h 1326"/>
                  <a:gd name="T50" fmla="*/ 2147483647 w 2152"/>
                  <a:gd name="T51" fmla="*/ 2147483647 h 1326"/>
                  <a:gd name="T52" fmla="*/ 2147483647 w 2152"/>
                  <a:gd name="T53" fmla="*/ 2147483647 h 1326"/>
                  <a:gd name="T54" fmla="*/ 2147483647 w 2152"/>
                  <a:gd name="T55" fmla="*/ 2147483647 h 1326"/>
                  <a:gd name="T56" fmla="*/ 2147483647 w 2152"/>
                  <a:gd name="T57" fmla="*/ 2147483647 h 1326"/>
                  <a:gd name="T58" fmla="*/ 2147483647 w 2152"/>
                  <a:gd name="T59" fmla="*/ 2147483647 h 1326"/>
                  <a:gd name="T60" fmla="*/ 2147483647 w 2152"/>
                  <a:gd name="T61" fmla="*/ 2147483647 h 1326"/>
                  <a:gd name="T62" fmla="*/ 2147483647 w 2152"/>
                  <a:gd name="T63" fmla="*/ 2147483647 h 1326"/>
                  <a:gd name="T64" fmla="*/ 2147483647 w 2152"/>
                  <a:gd name="T65" fmla="*/ 2147483647 h 1326"/>
                  <a:gd name="T66" fmla="*/ 2147483647 w 2152"/>
                  <a:gd name="T67" fmla="*/ 2147483647 h 1326"/>
                  <a:gd name="T68" fmla="*/ 2147483647 w 2152"/>
                  <a:gd name="T69" fmla="*/ 2147483647 h 1326"/>
                  <a:gd name="T70" fmla="*/ 2147483647 w 2152"/>
                  <a:gd name="T71" fmla="*/ 2147483647 h 1326"/>
                  <a:gd name="T72" fmla="*/ 2147483647 w 2152"/>
                  <a:gd name="T73" fmla="*/ 2147483647 h 1326"/>
                  <a:gd name="T74" fmla="*/ 2147483647 w 2152"/>
                  <a:gd name="T75" fmla="*/ 2147483647 h 1326"/>
                  <a:gd name="T76" fmla="*/ 2147483647 w 2152"/>
                  <a:gd name="T77" fmla="*/ 2147483647 h 1326"/>
                  <a:gd name="T78" fmla="*/ 2147483647 w 2152"/>
                  <a:gd name="T79" fmla="*/ 2147483647 h 1326"/>
                  <a:gd name="T80" fmla="*/ 2147483647 w 2152"/>
                  <a:gd name="T81" fmla="*/ 2147483647 h 1326"/>
                  <a:gd name="T82" fmla="*/ 2147483647 w 2152"/>
                  <a:gd name="T83" fmla="*/ 2147483647 h 1326"/>
                  <a:gd name="T84" fmla="*/ 2147483647 w 2152"/>
                  <a:gd name="T85" fmla="*/ 2147483647 h 1326"/>
                  <a:gd name="T86" fmla="*/ 2147483647 w 2152"/>
                  <a:gd name="T87" fmla="*/ 2147483647 h 1326"/>
                  <a:gd name="T88" fmla="*/ 2147483647 w 2152"/>
                  <a:gd name="T89" fmla="*/ 2147483647 h 1326"/>
                  <a:gd name="T90" fmla="*/ 2147483647 w 2152"/>
                  <a:gd name="T91" fmla="*/ 2147483647 h 1326"/>
                  <a:gd name="T92" fmla="*/ 2147483647 w 2152"/>
                  <a:gd name="T93" fmla="*/ 2147483647 h 1326"/>
                  <a:gd name="T94" fmla="*/ 2147483647 w 2152"/>
                  <a:gd name="T95" fmla="*/ 2147483647 h 1326"/>
                  <a:gd name="T96" fmla="*/ 2147483647 w 2152"/>
                  <a:gd name="T97" fmla="*/ 2147483647 h 1326"/>
                  <a:gd name="T98" fmla="*/ 2147483647 w 2152"/>
                  <a:gd name="T99" fmla="*/ 2147483647 h 1326"/>
                  <a:gd name="T100" fmla="*/ 2147483647 w 2152"/>
                  <a:gd name="T101" fmla="*/ 2147483647 h 1326"/>
                  <a:gd name="T102" fmla="*/ 2147483647 w 2152"/>
                  <a:gd name="T103" fmla="*/ 2147483647 h 1326"/>
                  <a:gd name="T104" fmla="*/ 2147483647 w 2152"/>
                  <a:gd name="T105" fmla="*/ 2147483647 h 1326"/>
                  <a:gd name="T106" fmla="*/ 2147483647 w 2152"/>
                  <a:gd name="T107" fmla="*/ 2147483647 h 13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52"/>
                  <a:gd name="T163" fmla="*/ 0 h 1326"/>
                  <a:gd name="T164" fmla="*/ 2152 w 2152"/>
                  <a:gd name="T165" fmla="*/ 1326 h 13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52" h="1326">
                    <a:moveTo>
                      <a:pt x="827" y="0"/>
                    </a:moveTo>
                    <a:lnTo>
                      <a:pt x="790" y="24"/>
                    </a:lnTo>
                    <a:lnTo>
                      <a:pt x="752" y="50"/>
                    </a:lnTo>
                    <a:lnTo>
                      <a:pt x="713" y="77"/>
                    </a:lnTo>
                    <a:lnTo>
                      <a:pt x="672" y="104"/>
                    </a:lnTo>
                    <a:lnTo>
                      <a:pt x="630" y="132"/>
                    </a:lnTo>
                    <a:lnTo>
                      <a:pt x="585" y="161"/>
                    </a:lnTo>
                    <a:lnTo>
                      <a:pt x="539" y="191"/>
                    </a:lnTo>
                    <a:lnTo>
                      <a:pt x="492" y="219"/>
                    </a:lnTo>
                    <a:lnTo>
                      <a:pt x="444" y="248"/>
                    </a:lnTo>
                    <a:lnTo>
                      <a:pt x="394" y="276"/>
                    </a:lnTo>
                    <a:lnTo>
                      <a:pt x="346" y="304"/>
                    </a:lnTo>
                    <a:lnTo>
                      <a:pt x="298" y="333"/>
                    </a:lnTo>
                    <a:lnTo>
                      <a:pt x="275" y="348"/>
                    </a:lnTo>
                    <a:lnTo>
                      <a:pt x="253" y="363"/>
                    </a:lnTo>
                    <a:lnTo>
                      <a:pt x="232" y="378"/>
                    </a:lnTo>
                    <a:lnTo>
                      <a:pt x="213" y="393"/>
                    </a:lnTo>
                    <a:lnTo>
                      <a:pt x="194" y="409"/>
                    </a:lnTo>
                    <a:lnTo>
                      <a:pt x="177" y="424"/>
                    </a:lnTo>
                    <a:lnTo>
                      <a:pt x="162" y="440"/>
                    </a:lnTo>
                    <a:lnTo>
                      <a:pt x="148" y="457"/>
                    </a:lnTo>
                    <a:lnTo>
                      <a:pt x="132" y="478"/>
                    </a:lnTo>
                    <a:lnTo>
                      <a:pt x="117" y="499"/>
                    </a:lnTo>
                    <a:lnTo>
                      <a:pt x="103" y="522"/>
                    </a:lnTo>
                    <a:lnTo>
                      <a:pt x="90" y="544"/>
                    </a:lnTo>
                    <a:lnTo>
                      <a:pt x="77" y="568"/>
                    </a:lnTo>
                    <a:lnTo>
                      <a:pt x="65" y="592"/>
                    </a:lnTo>
                    <a:lnTo>
                      <a:pt x="54" y="617"/>
                    </a:lnTo>
                    <a:lnTo>
                      <a:pt x="44" y="641"/>
                    </a:lnTo>
                    <a:lnTo>
                      <a:pt x="35" y="666"/>
                    </a:lnTo>
                    <a:lnTo>
                      <a:pt x="27" y="692"/>
                    </a:lnTo>
                    <a:lnTo>
                      <a:pt x="20" y="717"/>
                    </a:lnTo>
                    <a:lnTo>
                      <a:pt x="14" y="743"/>
                    </a:lnTo>
                    <a:lnTo>
                      <a:pt x="9" y="769"/>
                    </a:lnTo>
                    <a:lnTo>
                      <a:pt x="5" y="795"/>
                    </a:lnTo>
                    <a:lnTo>
                      <a:pt x="2" y="821"/>
                    </a:lnTo>
                    <a:lnTo>
                      <a:pt x="0" y="848"/>
                    </a:lnTo>
                    <a:lnTo>
                      <a:pt x="0" y="874"/>
                    </a:lnTo>
                    <a:lnTo>
                      <a:pt x="1" y="900"/>
                    </a:lnTo>
                    <a:lnTo>
                      <a:pt x="3" y="926"/>
                    </a:lnTo>
                    <a:lnTo>
                      <a:pt x="6" y="952"/>
                    </a:lnTo>
                    <a:lnTo>
                      <a:pt x="11" y="978"/>
                    </a:lnTo>
                    <a:lnTo>
                      <a:pt x="17" y="1004"/>
                    </a:lnTo>
                    <a:lnTo>
                      <a:pt x="25" y="1030"/>
                    </a:lnTo>
                    <a:lnTo>
                      <a:pt x="34" y="1054"/>
                    </a:lnTo>
                    <a:lnTo>
                      <a:pt x="44" y="1079"/>
                    </a:lnTo>
                    <a:lnTo>
                      <a:pt x="56" y="1103"/>
                    </a:lnTo>
                    <a:lnTo>
                      <a:pt x="69" y="1127"/>
                    </a:lnTo>
                    <a:lnTo>
                      <a:pt x="85" y="1150"/>
                    </a:lnTo>
                    <a:lnTo>
                      <a:pt x="101" y="1172"/>
                    </a:lnTo>
                    <a:lnTo>
                      <a:pt x="120" y="1194"/>
                    </a:lnTo>
                    <a:lnTo>
                      <a:pt x="140" y="1216"/>
                    </a:lnTo>
                    <a:lnTo>
                      <a:pt x="161" y="1236"/>
                    </a:lnTo>
                    <a:lnTo>
                      <a:pt x="178" y="1250"/>
                    </a:lnTo>
                    <a:lnTo>
                      <a:pt x="195" y="1262"/>
                    </a:lnTo>
                    <a:lnTo>
                      <a:pt x="214" y="1274"/>
                    </a:lnTo>
                    <a:lnTo>
                      <a:pt x="233" y="1284"/>
                    </a:lnTo>
                    <a:lnTo>
                      <a:pt x="253" y="1293"/>
                    </a:lnTo>
                    <a:lnTo>
                      <a:pt x="274" y="1300"/>
                    </a:lnTo>
                    <a:lnTo>
                      <a:pt x="296" y="1307"/>
                    </a:lnTo>
                    <a:lnTo>
                      <a:pt x="319" y="1313"/>
                    </a:lnTo>
                    <a:lnTo>
                      <a:pt x="343" y="1317"/>
                    </a:lnTo>
                    <a:lnTo>
                      <a:pt x="366" y="1321"/>
                    </a:lnTo>
                    <a:lnTo>
                      <a:pt x="391" y="1324"/>
                    </a:lnTo>
                    <a:lnTo>
                      <a:pt x="416" y="1325"/>
                    </a:lnTo>
                    <a:lnTo>
                      <a:pt x="442" y="1326"/>
                    </a:lnTo>
                    <a:lnTo>
                      <a:pt x="468" y="1325"/>
                    </a:lnTo>
                    <a:lnTo>
                      <a:pt x="495" y="1324"/>
                    </a:lnTo>
                    <a:lnTo>
                      <a:pt x="522" y="1322"/>
                    </a:lnTo>
                    <a:lnTo>
                      <a:pt x="549" y="1319"/>
                    </a:lnTo>
                    <a:lnTo>
                      <a:pt x="577" y="1316"/>
                    </a:lnTo>
                    <a:lnTo>
                      <a:pt x="606" y="1311"/>
                    </a:lnTo>
                    <a:lnTo>
                      <a:pt x="635" y="1306"/>
                    </a:lnTo>
                    <a:lnTo>
                      <a:pt x="664" y="1300"/>
                    </a:lnTo>
                    <a:lnTo>
                      <a:pt x="693" y="1293"/>
                    </a:lnTo>
                    <a:lnTo>
                      <a:pt x="722" y="1286"/>
                    </a:lnTo>
                    <a:lnTo>
                      <a:pt x="752" y="1277"/>
                    </a:lnTo>
                    <a:lnTo>
                      <a:pt x="781" y="1269"/>
                    </a:lnTo>
                    <a:lnTo>
                      <a:pt x="811" y="1259"/>
                    </a:lnTo>
                    <a:lnTo>
                      <a:pt x="840" y="1249"/>
                    </a:lnTo>
                    <a:lnTo>
                      <a:pt x="870" y="1239"/>
                    </a:lnTo>
                    <a:lnTo>
                      <a:pt x="899" y="1227"/>
                    </a:lnTo>
                    <a:lnTo>
                      <a:pt x="930" y="1216"/>
                    </a:lnTo>
                    <a:lnTo>
                      <a:pt x="959" y="1204"/>
                    </a:lnTo>
                    <a:lnTo>
                      <a:pt x="988" y="1191"/>
                    </a:lnTo>
                    <a:lnTo>
                      <a:pt x="1021" y="1176"/>
                    </a:lnTo>
                    <a:lnTo>
                      <a:pt x="1052" y="1161"/>
                    </a:lnTo>
                    <a:lnTo>
                      <a:pt x="1083" y="1145"/>
                    </a:lnTo>
                    <a:lnTo>
                      <a:pt x="1112" y="1129"/>
                    </a:lnTo>
                    <a:lnTo>
                      <a:pt x="1141" y="1113"/>
                    </a:lnTo>
                    <a:lnTo>
                      <a:pt x="1169" y="1096"/>
                    </a:lnTo>
                    <a:lnTo>
                      <a:pt x="1195" y="1079"/>
                    </a:lnTo>
                    <a:lnTo>
                      <a:pt x="1220" y="1062"/>
                    </a:lnTo>
                    <a:lnTo>
                      <a:pt x="1337" y="978"/>
                    </a:lnTo>
                    <a:lnTo>
                      <a:pt x="1444" y="900"/>
                    </a:lnTo>
                    <a:lnTo>
                      <a:pt x="1544" y="825"/>
                    </a:lnTo>
                    <a:lnTo>
                      <a:pt x="1636" y="756"/>
                    </a:lnTo>
                    <a:lnTo>
                      <a:pt x="1719" y="691"/>
                    </a:lnTo>
                    <a:lnTo>
                      <a:pt x="1796" y="631"/>
                    </a:lnTo>
                    <a:lnTo>
                      <a:pt x="1865" y="575"/>
                    </a:lnTo>
                    <a:lnTo>
                      <a:pt x="1926" y="525"/>
                    </a:lnTo>
                    <a:lnTo>
                      <a:pt x="1980" y="481"/>
                    </a:lnTo>
                    <a:lnTo>
                      <a:pt x="2026" y="442"/>
                    </a:lnTo>
                    <a:lnTo>
                      <a:pt x="2064" y="408"/>
                    </a:lnTo>
                    <a:lnTo>
                      <a:pt x="2096" y="380"/>
                    </a:lnTo>
                    <a:lnTo>
                      <a:pt x="2120" y="359"/>
                    </a:lnTo>
                    <a:lnTo>
                      <a:pt x="2138" y="343"/>
                    </a:lnTo>
                    <a:lnTo>
                      <a:pt x="2148" y="333"/>
                    </a:lnTo>
                    <a:lnTo>
                      <a:pt x="2152" y="330"/>
                    </a:lnTo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8" name="Freeform 17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49" name="Freeform 18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54308" name="Группа 281"/>
          <p:cNvGrpSpPr>
            <a:grpSpLocks/>
          </p:cNvGrpSpPr>
          <p:nvPr/>
        </p:nvGrpSpPr>
        <p:grpSpPr bwMode="auto">
          <a:xfrm>
            <a:off x="4346575" y="2500313"/>
            <a:ext cx="1152525" cy="909637"/>
            <a:chOff x="418547" y="5354344"/>
            <a:chExt cx="1153057" cy="910364"/>
          </a:xfrm>
        </p:grpSpPr>
        <p:sp>
          <p:nvSpPr>
            <p:cNvPr id="283" name="Скругленный прямоугольник 282"/>
            <p:cNvSpPr/>
            <p:nvPr/>
          </p:nvSpPr>
          <p:spPr>
            <a:xfrm>
              <a:off x="428076" y="5354344"/>
              <a:ext cx="1143528" cy="571957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ЛПУ</a:t>
              </a:r>
            </a:p>
            <a:p>
              <a:pPr algn="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первичного </a:t>
              </a:r>
            </a:p>
            <a:p>
              <a:pPr algn="ctr">
                <a:defRPr/>
              </a:pPr>
              <a:r>
                <a:rPr lang="ru-RU" sz="1100" dirty="0">
                  <a:solidFill>
                    <a:srgbClr val="000000"/>
                  </a:solidFill>
                </a:rPr>
                <a:t>звена</a:t>
              </a:r>
              <a:endParaRPr lang="ru-RU" sz="1100" dirty="0"/>
            </a:p>
          </p:txBody>
        </p:sp>
        <p:grpSp>
          <p:nvGrpSpPr>
            <p:cNvPr id="54425" name="Группа 283"/>
            <p:cNvGrpSpPr>
              <a:grpSpLocks/>
            </p:cNvGrpSpPr>
            <p:nvPr/>
          </p:nvGrpSpPr>
          <p:grpSpPr bwMode="auto">
            <a:xfrm flipH="1">
              <a:off x="418547" y="5546754"/>
              <a:ext cx="319588" cy="717954"/>
              <a:chOff x="928688" y="5000627"/>
              <a:chExt cx="566738" cy="1273176"/>
            </a:xfrm>
          </p:grpSpPr>
          <p:sp>
            <p:nvSpPr>
              <p:cNvPr id="54426" name="Freeform 8"/>
              <p:cNvSpPr>
                <a:spLocks/>
              </p:cNvSpPr>
              <p:nvPr/>
            </p:nvSpPr>
            <p:spPr bwMode="auto">
              <a:xfrm>
                <a:off x="928688" y="5243513"/>
                <a:ext cx="566737" cy="1030288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27" name="Freeform 9"/>
              <p:cNvSpPr>
                <a:spLocks/>
              </p:cNvSpPr>
              <p:nvPr/>
            </p:nvSpPr>
            <p:spPr bwMode="auto">
              <a:xfrm>
                <a:off x="928690" y="5243516"/>
                <a:ext cx="566736" cy="1030287"/>
              </a:xfrm>
              <a:custGeom>
                <a:avLst/>
                <a:gdLst>
                  <a:gd name="T0" fmla="*/ 2147483647 w 7126"/>
                  <a:gd name="T1" fmla="*/ 2147483647 h 12980"/>
                  <a:gd name="T2" fmla="*/ 2147483647 w 7126"/>
                  <a:gd name="T3" fmla="*/ 2147483647 h 12980"/>
                  <a:gd name="T4" fmla="*/ 2147483647 w 7126"/>
                  <a:gd name="T5" fmla="*/ 2147483647 h 12980"/>
                  <a:gd name="T6" fmla="*/ 2147483647 w 7126"/>
                  <a:gd name="T7" fmla="*/ 2147483647 h 12980"/>
                  <a:gd name="T8" fmla="*/ 2147483647 w 7126"/>
                  <a:gd name="T9" fmla="*/ 2147483647 h 12980"/>
                  <a:gd name="T10" fmla="*/ 2147483647 w 7126"/>
                  <a:gd name="T11" fmla="*/ 2147483647 h 12980"/>
                  <a:gd name="T12" fmla="*/ 2147483647 w 7126"/>
                  <a:gd name="T13" fmla="*/ 2147483647 h 12980"/>
                  <a:gd name="T14" fmla="*/ 2147483647 w 7126"/>
                  <a:gd name="T15" fmla="*/ 2147483647 h 12980"/>
                  <a:gd name="T16" fmla="*/ 2147483647 w 7126"/>
                  <a:gd name="T17" fmla="*/ 2147483647 h 12980"/>
                  <a:gd name="T18" fmla="*/ 2147483647 w 7126"/>
                  <a:gd name="T19" fmla="*/ 2147483647 h 12980"/>
                  <a:gd name="T20" fmla="*/ 2147483647 w 7126"/>
                  <a:gd name="T21" fmla="*/ 2147483647 h 12980"/>
                  <a:gd name="T22" fmla="*/ 2147483647 w 7126"/>
                  <a:gd name="T23" fmla="*/ 2147483647 h 12980"/>
                  <a:gd name="T24" fmla="*/ 2147483647 w 7126"/>
                  <a:gd name="T25" fmla="*/ 2147483647 h 12980"/>
                  <a:gd name="T26" fmla="*/ 2147483647 w 7126"/>
                  <a:gd name="T27" fmla="*/ 2147483647 h 12980"/>
                  <a:gd name="T28" fmla="*/ 2147483647 w 7126"/>
                  <a:gd name="T29" fmla="*/ 2147483647 h 12980"/>
                  <a:gd name="T30" fmla="*/ 2147483647 w 7126"/>
                  <a:gd name="T31" fmla="*/ 2147483647 h 12980"/>
                  <a:gd name="T32" fmla="*/ 2147483647 w 7126"/>
                  <a:gd name="T33" fmla="*/ 2147483647 h 12980"/>
                  <a:gd name="T34" fmla="*/ 2147483647 w 7126"/>
                  <a:gd name="T35" fmla="*/ 2147483647 h 12980"/>
                  <a:gd name="T36" fmla="*/ 2147483647 w 7126"/>
                  <a:gd name="T37" fmla="*/ 2147483647 h 12980"/>
                  <a:gd name="T38" fmla="*/ 2147483647 w 7126"/>
                  <a:gd name="T39" fmla="*/ 2147483647 h 12980"/>
                  <a:gd name="T40" fmla="*/ 2147483647 w 7126"/>
                  <a:gd name="T41" fmla="*/ 2147483647 h 12980"/>
                  <a:gd name="T42" fmla="*/ 2147483647 w 7126"/>
                  <a:gd name="T43" fmla="*/ 2147483647 h 12980"/>
                  <a:gd name="T44" fmla="*/ 2147483647 w 7126"/>
                  <a:gd name="T45" fmla="*/ 2147483647 h 12980"/>
                  <a:gd name="T46" fmla="*/ 2147483647 w 7126"/>
                  <a:gd name="T47" fmla="*/ 2147483647 h 12980"/>
                  <a:gd name="T48" fmla="*/ 2147483647 w 7126"/>
                  <a:gd name="T49" fmla="*/ 2147483647 h 12980"/>
                  <a:gd name="T50" fmla="*/ 2147483647 w 7126"/>
                  <a:gd name="T51" fmla="*/ 2147483647 h 12980"/>
                  <a:gd name="T52" fmla="*/ 2147483647 w 7126"/>
                  <a:gd name="T53" fmla="*/ 2147483647 h 12980"/>
                  <a:gd name="T54" fmla="*/ 2147483647 w 7126"/>
                  <a:gd name="T55" fmla="*/ 2147483647 h 12980"/>
                  <a:gd name="T56" fmla="*/ 2147483647 w 7126"/>
                  <a:gd name="T57" fmla="*/ 2147483647 h 12980"/>
                  <a:gd name="T58" fmla="*/ 2147483647 w 7126"/>
                  <a:gd name="T59" fmla="*/ 2147483647 h 12980"/>
                  <a:gd name="T60" fmla="*/ 2147483647 w 7126"/>
                  <a:gd name="T61" fmla="*/ 2147483647 h 12980"/>
                  <a:gd name="T62" fmla="*/ 2147483647 w 7126"/>
                  <a:gd name="T63" fmla="*/ 2147483647 h 12980"/>
                  <a:gd name="T64" fmla="*/ 2147483647 w 7126"/>
                  <a:gd name="T65" fmla="*/ 2147483647 h 12980"/>
                  <a:gd name="T66" fmla="*/ 2147483647 w 7126"/>
                  <a:gd name="T67" fmla="*/ 2147483647 h 12980"/>
                  <a:gd name="T68" fmla="*/ 2147483647 w 7126"/>
                  <a:gd name="T69" fmla="*/ 2147483647 h 12980"/>
                  <a:gd name="T70" fmla="*/ 2147483647 w 7126"/>
                  <a:gd name="T71" fmla="*/ 2147483647 h 12980"/>
                  <a:gd name="T72" fmla="*/ 2147483647 w 7126"/>
                  <a:gd name="T73" fmla="*/ 2147483647 h 12980"/>
                  <a:gd name="T74" fmla="*/ 2147483647 w 7126"/>
                  <a:gd name="T75" fmla="*/ 2147483647 h 12980"/>
                  <a:gd name="T76" fmla="*/ 2147483647 w 7126"/>
                  <a:gd name="T77" fmla="*/ 2147483647 h 12980"/>
                  <a:gd name="T78" fmla="*/ 2147483647 w 7126"/>
                  <a:gd name="T79" fmla="*/ 2147483647 h 12980"/>
                  <a:gd name="T80" fmla="*/ 2147483647 w 7126"/>
                  <a:gd name="T81" fmla="*/ 2147483647 h 12980"/>
                  <a:gd name="T82" fmla="*/ 2147483647 w 7126"/>
                  <a:gd name="T83" fmla="*/ 2147483647 h 12980"/>
                  <a:gd name="T84" fmla="*/ 2147483647 w 7126"/>
                  <a:gd name="T85" fmla="*/ 2147483647 h 12980"/>
                  <a:gd name="T86" fmla="*/ 2147483647 w 7126"/>
                  <a:gd name="T87" fmla="*/ 2147483647 h 12980"/>
                  <a:gd name="T88" fmla="*/ 2147483647 w 7126"/>
                  <a:gd name="T89" fmla="*/ 2147483647 h 12980"/>
                  <a:gd name="T90" fmla="*/ 2147483647 w 7126"/>
                  <a:gd name="T91" fmla="*/ 2147483647 h 12980"/>
                  <a:gd name="T92" fmla="*/ 2147483647 w 7126"/>
                  <a:gd name="T93" fmla="*/ 2147483647 h 12980"/>
                  <a:gd name="T94" fmla="*/ 2147483647 w 7126"/>
                  <a:gd name="T95" fmla="*/ 2147483647 h 12980"/>
                  <a:gd name="T96" fmla="*/ 2147483647 w 7126"/>
                  <a:gd name="T97" fmla="*/ 2147483647 h 12980"/>
                  <a:gd name="T98" fmla="*/ 2147483647 w 7126"/>
                  <a:gd name="T99" fmla="*/ 2147483647 h 12980"/>
                  <a:gd name="T100" fmla="*/ 2147483647 w 7126"/>
                  <a:gd name="T101" fmla="*/ 2147483647 h 12980"/>
                  <a:gd name="T102" fmla="*/ 2147483647 w 7126"/>
                  <a:gd name="T103" fmla="*/ 2147483647 h 12980"/>
                  <a:gd name="T104" fmla="*/ 2147483647 w 7126"/>
                  <a:gd name="T105" fmla="*/ 2147483647 h 12980"/>
                  <a:gd name="T106" fmla="*/ 2147483647 w 7126"/>
                  <a:gd name="T107" fmla="*/ 2147483647 h 12980"/>
                  <a:gd name="T108" fmla="*/ 2147483647 w 7126"/>
                  <a:gd name="T109" fmla="*/ 2147483647 h 12980"/>
                  <a:gd name="T110" fmla="*/ 2147483647 w 7126"/>
                  <a:gd name="T111" fmla="*/ 2147483647 h 12980"/>
                  <a:gd name="T112" fmla="*/ 2147483647 w 7126"/>
                  <a:gd name="T113" fmla="*/ 2147483647 h 12980"/>
                  <a:gd name="T114" fmla="*/ 2147483647 w 7126"/>
                  <a:gd name="T115" fmla="*/ 2147483647 h 12980"/>
                  <a:gd name="T116" fmla="*/ 2147483647 w 7126"/>
                  <a:gd name="T117" fmla="*/ 2147483647 h 12980"/>
                  <a:gd name="T118" fmla="*/ 2147483647 w 7126"/>
                  <a:gd name="T119" fmla="*/ 2147483647 h 1298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126"/>
                  <a:gd name="T181" fmla="*/ 0 h 12980"/>
                  <a:gd name="T182" fmla="*/ 7126 w 7126"/>
                  <a:gd name="T183" fmla="*/ 12980 h 1298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126" h="12980">
                    <a:moveTo>
                      <a:pt x="4531" y="9"/>
                    </a:moveTo>
                    <a:lnTo>
                      <a:pt x="4613" y="2"/>
                    </a:lnTo>
                    <a:lnTo>
                      <a:pt x="4696" y="0"/>
                    </a:lnTo>
                    <a:lnTo>
                      <a:pt x="4779" y="3"/>
                    </a:lnTo>
                    <a:lnTo>
                      <a:pt x="4863" y="11"/>
                    </a:lnTo>
                    <a:lnTo>
                      <a:pt x="4946" y="24"/>
                    </a:lnTo>
                    <a:lnTo>
                      <a:pt x="5029" y="41"/>
                    </a:lnTo>
                    <a:lnTo>
                      <a:pt x="5112" y="62"/>
                    </a:lnTo>
                    <a:lnTo>
                      <a:pt x="5195" y="87"/>
                    </a:lnTo>
                    <a:lnTo>
                      <a:pt x="5277" y="116"/>
                    </a:lnTo>
                    <a:lnTo>
                      <a:pt x="5359" y="149"/>
                    </a:lnTo>
                    <a:lnTo>
                      <a:pt x="5441" y="185"/>
                    </a:lnTo>
                    <a:lnTo>
                      <a:pt x="5521" y="224"/>
                    </a:lnTo>
                    <a:lnTo>
                      <a:pt x="5601" y="267"/>
                    </a:lnTo>
                    <a:lnTo>
                      <a:pt x="5680" y="312"/>
                    </a:lnTo>
                    <a:lnTo>
                      <a:pt x="5760" y="360"/>
                    </a:lnTo>
                    <a:lnTo>
                      <a:pt x="5837" y="411"/>
                    </a:lnTo>
                    <a:lnTo>
                      <a:pt x="5914" y="463"/>
                    </a:lnTo>
                    <a:lnTo>
                      <a:pt x="5989" y="517"/>
                    </a:lnTo>
                    <a:lnTo>
                      <a:pt x="6064" y="574"/>
                    </a:lnTo>
                    <a:lnTo>
                      <a:pt x="6137" y="631"/>
                    </a:lnTo>
                    <a:lnTo>
                      <a:pt x="6209" y="691"/>
                    </a:lnTo>
                    <a:lnTo>
                      <a:pt x="6279" y="751"/>
                    </a:lnTo>
                    <a:lnTo>
                      <a:pt x="6348" y="813"/>
                    </a:lnTo>
                    <a:lnTo>
                      <a:pt x="6417" y="876"/>
                    </a:lnTo>
                    <a:lnTo>
                      <a:pt x="6483" y="938"/>
                    </a:lnTo>
                    <a:lnTo>
                      <a:pt x="6547" y="1002"/>
                    </a:lnTo>
                    <a:lnTo>
                      <a:pt x="6609" y="1065"/>
                    </a:lnTo>
                    <a:lnTo>
                      <a:pt x="6671" y="1128"/>
                    </a:lnTo>
                    <a:lnTo>
                      <a:pt x="6730" y="1193"/>
                    </a:lnTo>
                    <a:lnTo>
                      <a:pt x="6787" y="1255"/>
                    </a:lnTo>
                    <a:lnTo>
                      <a:pt x="6841" y="1318"/>
                    </a:lnTo>
                    <a:lnTo>
                      <a:pt x="6894" y="1379"/>
                    </a:lnTo>
                    <a:lnTo>
                      <a:pt x="6979" y="1492"/>
                    </a:lnTo>
                    <a:lnTo>
                      <a:pt x="7043" y="1607"/>
                    </a:lnTo>
                    <a:lnTo>
                      <a:pt x="7088" y="1722"/>
                    </a:lnTo>
                    <a:lnTo>
                      <a:pt x="7115" y="1838"/>
                    </a:lnTo>
                    <a:lnTo>
                      <a:pt x="7126" y="1953"/>
                    </a:lnTo>
                    <a:lnTo>
                      <a:pt x="7120" y="2069"/>
                    </a:lnTo>
                    <a:lnTo>
                      <a:pt x="7100" y="2182"/>
                    </a:lnTo>
                    <a:lnTo>
                      <a:pt x="7066" y="2294"/>
                    </a:lnTo>
                    <a:lnTo>
                      <a:pt x="7019" y="2404"/>
                    </a:lnTo>
                    <a:lnTo>
                      <a:pt x="6960" y="2511"/>
                    </a:lnTo>
                    <a:lnTo>
                      <a:pt x="6891" y="2613"/>
                    </a:lnTo>
                    <a:lnTo>
                      <a:pt x="6813" y="2712"/>
                    </a:lnTo>
                    <a:lnTo>
                      <a:pt x="6726" y="2808"/>
                    </a:lnTo>
                    <a:lnTo>
                      <a:pt x="6631" y="2897"/>
                    </a:lnTo>
                    <a:lnTo>
                      <a:pt x="6531" y="2981"/>
                    </a:lnTo>
                    <a:lnTo>
                      <a:pt x="6425" y="3058"/>
                    </a:lnTo>
                    <a:lnTo>
                      <a:pt x="6315" y="3129"/>
                    </a:lnTo>
                    <a:lnTo>
                      <a:pt x="6202" y="3193"/>
                    </a:lnTo>
                    <a:lnTo>
                      <a:pt x="6087" y="3249"/>
                    </a:lnTo>
                    <a:lnTo>
                      <a:pt x="5971" y="3296"/>
                    </a:lnTo>
                    <a:lnTo>
                      <a:pt x="5855" y="3335"/>
                    </a:lnTo>
                    <a:lnTo>
                      <a:pt x="5741" y="3364"/>
                    </a:lnTo>
                    <a:lnTo>
                      <a:pt x="5627" y="3383"/>
                    </a:lnTo>
                    <a:lnTo>
                      <a:pt x="5519" y="3391"/>
                    </a:lnTo>
                    <a:lnTo>
                      <a:pt x="5413" y="3388"/>
                    </a:lnTo>
                    <a:lnTo>
                      <a:pt x="5314" y="3374"/>
                    </a:lnTo>
                    <a:lnTo>
                      <a:pt x="5222" y="3347"/>
                    </a:lnTo>
                    <a:lnTo>
                      <a:pt x="5137" y="3308"/>
                    </a:lnTo>
                    <a:lnTo>
                      <a:pt x="5059" y="3255"/>
                    </a:lnTo>
                    <a:lnTo>
                      <a:pt x="4992" y="3189"/>
                    </a:lnTo>
                    <a:lnTo>
                      <a:pt x="4937" y="3107"/>
                    </a:lnTo>
                    <a:lnTo>
                      <a:pt x="4892" y="3011"/>
                    </a:lnTo>
                    <a:lnTo>
                      <a:pt x="4875" y="2954"/>
                    </a:lnTo>
                    <a:lnTo>
                      <a:pt x="4865" y="2901"/>
                    </a:lnTo>
                    <a:lnTo>
                      <a:pt x="4863" y="2852"/>
                    </a:lnTo>
                    <a:lnTo>
                      <a:pt x="4868" y="2807"/>
                    </a:lnTo>
                    <a:lnTo>
                      <a:pt x="4879" y="2765"/>
                    </a:lnTo>
                    <a:lnTo>
                      <a:pt x="4896" y="2724"/>
                    </a:lnTo>
                    <a:lnTo>
                      <a:pt x="4918" y="2688"/>
                    </a:lnTo>
                    <a:lnTo>
                      <a:pt x="4945" y="2654"/>
                    </a:lnTo>
                    <a:lnTo>
                      <a:pt x="4976" y="2623"/>
                    </a:lnTo>
                    <a:lnTo>
                      <a:pt x="5011" y="2593"/>
                    </a:lnTo>
                    <a:lnTo>
                      <a:pt x="5049" y="2565"/>
                    </a:lnTo>
                    <a:lnTo>
                      <a:pt x="5090" y="2538"/>
                    </a:lnTo>
                    <a:lnTo>
                      <a:pt x="5133" y="2513"/>
                    </a:lnTo>
                    <a:lnTo>
                      <a:pt x="5178" y="2488"/>
                    </a:lnTo>
                    <a:lnTo>
                      <a:pt x="5224" y="2464"/>
                    </a:lnTo>
                    <a:lnTo>
                      <a:pt x="5270" y="2441"/>
                    </a:lnTo>
                    <a:lnTo>
                      <a:pt x="5317" y="2417"/>
                    </a:lnTo>
                    <a:lnTo>
                      <a:pt x="5362" y="2393"/>
                    </a:lnTo>
                    <a:lnTo>
                      <a:pt x="5407" y="2369"/>
                    </a:lnTo>
                    <a:lnTo>
                      <a:pt x="5452" y="2343"/>
                    </a:lnTo>
                    <a:lnTo>
                      <a:pt x="5493" y="2317"/>
                    </a:lnTo>
                    <a:lnTo>
                      <a:pt x="5532" y="2290"/>
                    </a:lnTo>
                    <a:lnTo>
                      <a:pt x="5568" y="2261"/>
                    </a:lnTo>
                    <a:lnTo>
                      <a:pt x="5601" y="2231"/>
                    </a:lnTo>
                    <a:lnTo>
                      <a:pt x="5629" y="2198"/>
                    </a:lnTo>
                    <a:lnTo>
                      <a:pt x="5652" y="2163"/>
                    </a:lnTo>
                    <a:lnTo>
                      <a:pt x="5671" y="2125"/>
                    </a:lnTo>
                    <a:lnTo>
                      <a:pt x="5684" y="2085"/>
                    </a:lnTo>
                    <a:lnTo>
                      <a:pt x="5690" y="2041"/>
                    </a:lnTo>
                    <a:lnTo>
                      <a:pt x="5690" y="1994"/>
                    </a:lnTo>
                    <a:lnTo>
                      <a:pt x="5683" y="1942"/>
                    </a:lnTo>
                    <a:lnTo>
                      <a:pt x="5667" y="1887"/>
                    </a:lnTo>
                    <a:lnTo>
                      <a:pt x="5658" y="1863"/>
                    </a:lnTo>
                    <a:lnTo>
                      <a:pt x="5647" y="1840"/>
                    </a:lnTo>
                    <a:lnTo>
                      <a:pt x="5635" y="1819"/>
                    </a:lnTo>
                    <a:lnTo>
                      <a:pt x="5621" y="1799"/>
                    </a:lnTo>
                    <a:lnTo>
                      <a:pt x="5606" y="1781"/>
                    </a:lnTo>
                    <a:lnTo>
                      <a:pt x="5590" y="1764"/>
                    </a:lnTo>
                    <a:lnTo>
                      <a:pt x="5572" y="1748"/>
                    </a:lnTo>
                    <a:lnTo>
                      <a:pt x="5554" y="1733"/>
                    </a:lnTo>
                    <a:lnTo>
                      <a:pt x="5534" y="1720"/>
                    </a:lnTo>
                    <a:lnTo>
                      <a:pt x="5514" y="1708"/>
                    </a:lnTo>
                    <a:lnTo>
                      <a:pt x="5492" y="1696"/>
                    </a:lnTo>
                    <a:lnTo>
                      <a:pt x="5470" y="1686"/>
                    </a:lnTo>
                    <a:lnTo>
                      <a:pt x="5448" y="1676"/>
                    </a:lnTo>
                    <a:lnTo>
                      <a:pt x="5423" y="1668"/>
                    </a:lnTo>
                    <a:lnTo>
                      <a:pt x="5400" y="1660"/>
                    </a:lnTo>
                    <a:lnTo>
                      <a:pt x="5376" y="1652"/>
                    </a:lnTo>
                    <a:lnTo>
                      <a:pt x="5351" y="1646"/>
                    </a:lnTo>
                    <a:lnTo>
                      <a:pt x="5327" y="1640"/>
                    </a:lnTo>
                    <a:lnTo>
                      <a:pt x="5302" y="1634"/>
                    </a:lnTo>
                    <a:lnTo>
                      <a:pt x="5277" y="1629"/>
                    </a:lnTo>
                    <a:lnTo>
                      <a:pt x="5228" y="1620"/>
                    </a:lnTo>
                    <a:lnTo>
                      <a:pt x="5180" y="1612"/>
                    </a:lnTo>
                    <a:lnTo>
                      <a:pt x="5133" y="1604"/>
                    </a:lnTo>
                    <a:lnTo>
                      <a:pt x="5087" y="1596"/>
                    </a:lnTo>
                    <a:lnTo>
                      <a:pt x="5045" y="1588"/>
                    </a:lnTo>
                    <a:lnTo>
                      <a:pt x="5008" y="1579"/>
                    </a:lnTo>
                    <a:lnTo>
                      <a:pt x="4999" y="1681"/>
                    </a:lnTo>
                    <a:lnTo>
                      <a:pt x="5225" y="1714"/>
                    </a:lnTo>
                    <a:lnTo>
                      <a:pt x="5271" y="1724"/>
                    </a:lnTo>
                    <a:lnTo>
                      <a:pt x="5313" y="1733"/>
                    </a:lnTo>
                    <a:lnTo>
                      <a:pt x="5352" y="1742"/>
                    </a:lnTo>
                    <a:lnTo>
                      <a:pt x="5386" y="1751"/>
                    </a:lnTo>
                    <a:lnTo>
                      <a:pt x="5403" y="1756"/>
                    </a:lnTo>
                    <a:lnTo>
                      <a:pt x="5418" y="1761"/>
                    </a:lnTo>
                    <a:lnTo>
                      <a:pt x="5433" y="1767"/>
                    </a:lnTo>
                    <a:lnTo>
                      <a:pt x="5447" y="1773"/>
                    </a:lnTo>
                    <a:lnTo>
                      <a:pt x="5460" y="1780"/>
                    </a:lnTo>
                    <a:lnTo>
                      <a:pt x="5472" y="1787"/>
                    </a:lnTo>
                    <a:lnTo>
                      <a:pt x="5483" y="1795"/>
                    </a:lnTo>
                    <a:lnTo>
                      <a:pt x="5494" y="1804"/>
                    </a:lnTo>
                    <a:lnTo>
                      <a:pt x="5503" y="1813"/>
                    </a:lnTo>
                    <a:lnTo>
                      <a:pt x="5513" y="1824"/>
                    </a:lnTo>
                    <a:lnTo>
                      <a:pt x="5521" y="1836"/>
                    </a:lnTo>
                    <a:lnTo>
                      <a:pt x="5529" y="1848"/>
                    </a:lnTo>
                    <a:lnTo>
                      <a:pt x="5536" y="1862"/>
                    </a:lnTo>
                    <a:lnTo>
                      <a:pt x="5542" y="1877"/>
                    </a:lnTo>
                    <a:lnTo>
                      <a:pt x="5548" y="1893"/>
                    </a:lnTo>
                    <a:lnTo>
                      <a:pt x="5553" y="1911"/>
                    </a:lnTo>
                    <a:lnTo>
                      <a:pt x="5558" y="1930"/>
                    </a:lnTo>
                    <a:lnTo>
                      <a:pt x="5562" y="1951"/>
                    </a:lnTo>
                    <a:lnTo>
                      <a:pt x="5565" y="1974"/>
                    </a:lnTo>
                    <a:lnTo>
                      <a:pt x="5568" y="1998"/>
                    </a:lnTo>
                    <a:lnTo>
                      <a:pt x="5571" y="2024"/>
                    </a:lnTo>
                    <a:lnTo>
                      <a:pt x="5573" y="2051"/>
                    </a:lnTo>
                    <a:lnTo>
                      <a:pt x="5574" y="2081"/>
                    </a:lnTo>
                    <a:lnTo>
                      <a:pt x="5575" y="2112"/>
                    </a:lnTo>
                    <a:lnTo>
                      <a:pt x="5635" y="5052"/>
                    </a:lnTo>
                    <a:lnTo>
                      <a:pt x="5637" y="5174"/>
                    </a:lnTo>
                    <a:lnTo>
                      <a:pt x="5639" y="5295"/>
                    </a:lnTo>
                    <a:lnTo>
                      <a:pt x="5641" y="5415"/>
                    </a:lnTo>
                    <a:lnTo>
                      <a:pt x="5643" y="5535"/>
                    </a:lnTo>
                    <a:lnTo>
                      <a:pt x="5644" y="5657"/>
                    </a:lnTo>
                    <a:lnTo>
                      <a:pt x="5646" y="5777"/>
                    </a:lnTo>
                    <a:lnTo>
                      <a:pt x="5648" y="5896"/>
                    </a:lnTo>
                    <a:lnTo>
                      <a:pt x="5649" y="6017"/>
                    </a:lnTo>
                    <a:lnTo>
                      <a:pt x="5651" y="6136"/>
                    </a:lnTo>
                    <a:lnTo>
                      <a:pt x="5652" y="6256"/>
                    </a:lnTo>
                    <a:lnTo>
                      <a:pt x="5654" y="6376"/>
                    </a:lnTo>
                    <a:lnTo>
                      <a:pt x="5655" y="6494"/>
                    </a:lnTo>
                    <a:lnTo>
                      <a:pt x="5656" y="6613"/>
                    </a:lnTo>
                    <a:lnTo>
                      <a:pt x="5657" y="6731"/>
                    </a:lnTo>
                    <a:lnTo>
                      <a:pt x="5658" y="6850"/>
                    </a:lnTo>
                    <a:lnTo>
                      <a:pt x="5659" y="6968"/>
                    </a:lnTo>
                    <a:lnTo>
                      <a:pt x="5673" y="8640"/>
                    </a:lnTo>
                    <a:lnTo>
                      <a:pt x="5686" y="8732"/>
                    </a:lnTo>
                    <a:lnTo>
                      <a:pt x="5702" y="8828"/>
                    </a:lnTo>
                    <a:lnTo>
                      <a:pt x="5721" y="8928"/>
                    </a:lnTo>
                    <a:lnTo>
                      <a:pt x="5743" y="9030"/>
                    </a:lnTo>
                    <a:lnTo>
                      <a:pt x="5768" y="9136"/>
                    </a:lnTo>
                    <a:lnTo>
                      <a:pt x="5794" y="9245"/>
                    </a:lnTo>
                    <a:lnTo>
                      <a:pt x="5823" y="9356"/>
                    </a:lnTo>
                    <a:lnTo>
                      <a:pt x="5854" y="9468"/>
                    </a:lnTo>
                    <a:lnTo>
                      <a:pt x="5886" y="9584"/>
                    </a:lnTo>
                    <a:lnTo>
                      <a:pt x="5920" y="9700"/>
                    </a:lnTo>
                    <a:lnTo>
                      <a:pt x="5956" y="9818"/>
                    </a:lnTo>
                    <a:lnTo>
                      <a:pt x="5992" y="9936"/>
                    </a:lnTo>
                    <a:lnTo>
                      <a:pt x="6030" y="10056"/>
                    </a:lnTo>
                    <a:lnTo>
                      <a:pt x="6070" y="10176"/>
                    </a:lnTo>
                    <a:lnTo>
                      <a:pt x="6109" y="10295"/>
                    </a:lnTo>
                    <a:lnTo>
                      <a:pt x="6149" y="10416"/>
                    </a:lnTo>
                    <a:lnTo>
                      <a:pt x="6230" y="10653"/>
                    </a:lnTo>
                    <a:lnTo>
                      <a:pt x="6310" y="10888"/>
                    </a:lnTo>
                    <a:lnTo>
                      <a:pt x="6390" y="11115"/>
                    </a:lnTo>
                    <a:lnTo>
                      <a:pt x="6466" y="11334"/>
                    </a:lnTo>
                    <a:lnTo>
                      <a:pt x="6537" y="11542"/>
                    </a:lnTo>
                    <a:lnTo>
                      <a:pt x="6602" y="11738"/>
                    </a:lnTo>
                    <a:lnTo>
                      <a:pt x="6632" y="11830"/>
                    </a:lnTo>
                    <a:lnTo>
                      <a:pt x="6660" y="11918"/>
                    </a:lnTo>
                    <a:lnTo>
                      <a:pt x="6687" y="12002"/>
                    </a:lnTo>
                    <a:lnTo>
                      <a:pt x="6710" y="12080"/>
                    </a:lnTo>
                    <a:lnTo>
                      <a:pt x="6718" y="12113"/>
                    </a:lnTo>
                    <a:lnTo>
                      <a:pt x="6724" y="12146"/>
                    </a:lnTo>
                    <a:lnTo>
                      <a:pt x="6728" y="12178"/>
                    </a:lnTo>
                    <a:lnTo>
                      <a:pt x="6730" y="12211"/>
                    </a:lnTo>
                    <a:lnTo>
                      <a:pt x="6730" y="12244"/>
                    </a:lnTo>
                    <a:lnTo>
                      <a:pt x="6727" y="12277"/>
                    </a:lnTo>
                    <a:lnTo>
                      <a:pt x="6723" y="12309"/>
                    </a:lnTo>
                    <a:lnTo>
                      <a:pt x="6717" y="12342"/>
                    </a:lnTo>
                    <a:lnTo>
                      <a:pt x="6709" y="12374"/>
                    </a:lnTo>
                    <a:lnTo>
                      <a:pt x="6699" y="12407"/>
                    </a:lnTo>
                    <a:lnTo>
                      <a:pt x="6687" y="12439"/>
                    </a:lnTo>
                    <a:lnTo>
                      <a:pt x="6674" y="12471"/>
                    </a:lnTo>
                    <a:lnTo>
                      <a:pt x="6658" y="12502"/>
                    </a:lnTo>
                    <a:lnTo>
                      <a:pt x="6641" y="12532"/>
                    </a:lnTo>
                    <a:lnTo>
                      <a:pt x="6622" y="12562"/>
                    </a:lnTo>
                    <a:lnTo>
                      <a:pt x="6602" y="12592"/>
                    </a:lnTo>
                    <a:lnTo>
                      <a:pt x="6580" y="12620"/>
                    </a:lnTo>
                    <a:lnTo>
                      <a:pt x="6557" y="12648"/>
                    </a:lnTo>
                    <a:lnTo>
                      <a:pt x="6532" y="12676"/>
                    </a:lnTo>
                    <a:lnTo>
                      <a:pt x="6506" y="12702"/>
                    </a:lnTo>
                    <a:lnTo>
                      <a:pt x="6478" y="12728"/>
                    </a:lnTo>
                    <a:lnTo>
                      <a:pt x="6449" y="12753"/>
                    </a:lnTo>
                    <a:lnTo>
                      <a:pt x="6419" y="12777"/>
                    </a:lnTo>
                    <a:lnTo>
                      <a:pt x="6387" y="12800"/>
                    </a:lnTo>
                    <a:lnTo>
                      <a:pt x="6353" y="12822"/>
                    </a:lnTo>
                    <a:lnTo>
                      <a:pt x="6319" y="12843"/>
                    </a:lnTo>
                    <a:lnTo>
                      <a:pt x="6283" y="12862"/>
                    </a:lnTo>
                    <a:lnTo>
                      <a:pt x="6247" y="12880"/>
                    </a:lnTo>
                    <a:lnTo>
                      <a:pt x="6209" y="12897"/>
                    </a:lnTo>
                    <a:lnTo>
                      <a:pt x="6171" y="12912"/>
                    </a:lnTo>
                    <a:lnTo>
                      <a:pt x="6131" y="12926"/>
                    </a:lnTo>
                    <a:lnTo>
                      <a:pt x="6090" y="12939"/>
                    </a:lnTo>
                    <a:lnTo>
                      <a:pt x="6049" y="12950"/>
                    </a:lnTo>
                    <a:lnTo>
                      <a:pt x="6007" y="12959"/>
                    </a:lnTo>
                    <a:lnTo>
                      <a:pt x="5966" y="12967"/>
                    </a:lnTo>
                    <a:lnTo>
                      <a:pt x="5925" y="12973"/>
                    </a:lnTo>
                    <a:lnTo>
                      <a:pt x="5885" y="12977"/>
                    </a:lnTo>
                    <a:lnTo>
                      <a:pt x="5844" y="12979"/>
                    </a:lnTo>
                    <a:lnTo>
                      <a:pt x="5805" y="12980"/>
                    </a:lnTo>
                    <a:lnTo>
                      <a:pt x="5765" y="12979"/>
                    </a:lnTo>
                    <a:lnTo>
                      <a:pt x="5725" y="12977"/>
                    </a:lnTo>
                    <a:lnTo>
                      <a:pt x="5687" y="12973"/>
                    </a:lnTo>
                    <a:lnTo>
                      <a:pt x="5649" y="12967"/>
                    </a:lnTo>
                    <a:lnTo>
                      <a:pt x="5612" y="12960"/>
                    </a:lnTo>
                    <a:lnTo>
                      <a:pt x="5575" y="12952"/>
                    </a:lnTo>
                    <a:lnTo>
                      <a:pt x="5540" y="12942"/>
                    </a:lnTo>
                    <a:lnTo>
                      <a:pt x="5505" y="12930"/>
                    </a:lnTo>
                    <a:lnTo>
                      <a:pt x="5472" y="12918"/>
                    </a:lnTo>
                    <a:lnTo>
                      <a:pt x="5439" y="12903"/>
                    </a:lnTo>
                    <a:lnTo>
                      <a:pt x="5406" y="12888"/>
                    </a:lnTo>
                    <a:lnTo>
                      <a:pt x="5375" y="12871"/>
                    </a:lnTo>
                    <a:lnTo>
                      <a:pt x="5346" y="12853"/>
                    </a:lnTo>
                    <a:lnTo>
                      <a:pt x="5318" y="12833"/>
                    </a:lnTo>
                    <a:lnTo>
                      <a:pt x="5291" y="12813"/>
                    </a:lnTo>
                    <a:lnTo>
                      <a:pt x="5266" y="12791"/>
                    </a:lnTo>
                    <a:lnTo>
                      <a:pt x="5242" y="12767"/>
                    </a:lnTo>
                    <a:lnTo>
                      <a:pt x="5219" y="12742"/>
                    </a:lnTo>
                    <a:lnTo>
                      <a:pt x="5198" y="12717"/>
                    </a:lnTo>
                    <a:lnTo>
                      <a:pt x="5179" y="12690"/>
                    </a:lnTo>
                    <a:lnTo>
                      <a:pt x="5161" y="12663"/>
                    </a:lnTo>
                    <a:lnTo>
                      <a:pt x="5145" y="12634"/>
                    </a:lnTo>
                    <a:lnTo>
                      <a:pt x="5131" y="12604"/>
                    </a:lnTo>
                    <a:lnTo>
                      <a:pt x="5119" y="12573"/>
                    </a:lnTo>
                    <a:lnTo>
                      <a:pt x="5108" y="12542"/>
                    </a:lnTo>
                    <a:lnTo>
                      <a:pt x="5076" y="12435"/>
                    </a:lnTo>
                    <a:lnTo>
                      <a:pt x="5043" y="12326"/>
                    </a:lnTo>
                    <a:lnTo>
                      <a:pt x="5008" y="12217"/>
                    </a:lnTo>
                    <a:lnTo>
                      <a:pt x="4971" y="12106"/>
                    </a:lnTo>
                    <a:lnTo>
                      <a:pt x="4933" y="11993"/>
                    </a:lnTo>
                    <a:lnTo>
                      <a:pt x="4894" y="11879"/>
                    </a:lnTo>
                    <a:lnTo>
                      <a:pt x="4853" y="11764"/>
                    </a:lnTo>
                    <a:lnTo>
                      <a:pt x="4812" y="11648"/>
                    </a:lnTo>
                    <a:lnTo>
                      <a:pt x="4728" y="11413"/>
                    </a:lnTo>
                    <a:lnTo>
                      <a:pt x="4643" y="11174"/>
                    </a:lnTo>
                    <a:lnTo>
                      <a:pt x="4601" y="11055"/>
                    </a:lnTo>
                    <a:lnTo>
                      <a:pt x="4559" y="10934"/>
                    </a:lnTo>
                    <a:lnTo>
                      <a:pt x="4518" y="10814"/>
                    </a:lnTo>
                    <a:lnTo>
                      <a:pt x="4477" y="10692"/>
                    </a:lnTo>
                    <a:lnTo>
                      <a:pt x="4437" y="10571"/>
                    </a:lnTo>
                    <a:lnTo>
                      <a:pt x="4399" y="10450"/>
                    </a:lnTo>
                    <a:lnTo>
                      <a:pt x="4361" y="10328"/>
                    </a:lnTo>
                    <a:lnTo>
                      <a:pt x="4326" y="10207"/>
                    </a:lnTo>
                    <a:lnTo>
                      <a:pt x="4292" y="10086"/>
                    </a:lnTo>
                    <a:lnTo>
                      <a:pt x="4260" y="9965"/>
                    </a:lnTo>
                    <a:lnTo>
                      <a:pt x="4230" y="9845"/>
                    </a:lnTo>
                    <a:lnTo>
                      <a:pt x="4202" y="9725"/>
                    </a:lnTo>
                    <a:lnTo>
                      <a:pt x="4175" y="9606"/>
                    </a:lnTo>
                    <a:lnTo>
                      <a:pt x="4153" y="9487"/>
                    </a:lnTo>
                    <a:lnTo>
                      <a:pt x="4133" y="9370"/>
                    </a:lnTo>
                    <a:lnTo>
                      <a:pt x="4116" y="9253"/>
                    </a:lnTo>
                    <a:lnTo>
                      <a:pt x="4103" y="9137"/>
                    </a:lnTo>
                    <a:lnTo>
                      <a:pt x="4092" y="9023"/>
                    </a:lnTo>
                    <a:lnTo>
                      <a:pt x="4086" y="8910"/>
                    </a:lnTo>
                    <a:lnTo>
                      <a:pt x="4083" y="8798"/>
                    </a:lnTo>
                    <a:lnTo>
                      <a:pt x="4070" y="7201"/>
                    </a:lnTo>
                    <a:lnTo>
                      <a:pt x="3801" y="7201"/>
                    </a:lnTo>
                    <a:lnTo>
                      <a:pt x="3789" y="7233"/>
                    </a:lnTo>
                    <a:lnTo>
                      <a:pt x="3776" y="7265"/>
                    </a:lnTo>
                    <a:lnTo>
                      <a:pt x="3762" y="7297"/>
                    </a:lnTo>
                    <a:lnTo>
                      <a:pt x="3747" y="7329"/>
                    </a:lnTo>
                    <a:lnTo>
                      <a:pt x="3731" y="7361"/>
                    </a:lnTo>
                    <a:lnTo>
                      <a:pt x="3715" y="7392"/>
                    </a:lnTo>
                    <a:lnTo>
                      <a:pt x="3697" y="7423"/>
                    </a:lnTo>
                    <a:lnTo>
                      <a:pt x="3678" y="7454"/>
                    </a:lnTo>
                    <a:lnTo>
                      <a:pt x="2808" y="8854"/>
                    </a:lnTo>
                    <a:lnTo>
                      <a:pt x="2758" y="8933"/>
                    </a:lnTo>
                    <a:lnTo>
                      <a:pt x="2708" y="9019"/>
                    </a:lnTo>
                    <a:lnTo>
                      <a:pt x="2659" y="9111"/>
                    </a:lnTo>
                    <a:lnTo>
                      <a:pt x="2610" y="9210"/>
                    </a:lnTo>
                    <a:lnTo>
                      <a:pt x="2562" y="9314"/>
                    </a:lnTo>
                    <a:lnTo>
                      <a:pt x="2516" y="9422"/>
                    </a:lnTo>
                    <a:lnTo>
                      <a:pt x="2470" y="9535"/>
                    </a:lnTo>
                    <a:lnTo>
                      <a:pt x="2425" y="9653"/>
                    </a:lnTo>
                    <a:lnTo>
                      <a:pt x="2381" y="9773"/>
                    </a:lnTo>
                    <a:lnTo>
                      <a:pt x="2338" y="9897"/>
                    </a:lnTo>
                    <a:lnTo>
                      <a:pt x="2295" y="10023"/>
                    </a:lnTo>
                    <a:lnTo>
                      <a:pt x="2253" y="10151"/>
                    </a:lnTo>
                    <a:lnTo>
                      <a:pt x="2212" y="10281"/>
                    </a:lnTo>
                    <a:lnTo>
                      <a:pt x="2173" y="10412"/>
                    </a:lnTo>
                    <a:lnTo>
                      <a:pt x="2133" y="10544"/>
                    </a:lnTo>
                    <a:lnTo>
                      <a:pt x="2095" y="10675"/>
                    </a:lnTo>
                    <a:lnTo>
                      <a:pt x="2021" y="10937"/>
                    </a:lnTo>
                    <a:lnTo>
                      <a:pt x="1949" y="11194"/>
                    </a:lnTo>
                    <a:lnTo>
                      <a:pt x="1881" y="11442"/>
                    </a:lnTo>
                    <a:lnTo>
                      <a:pt x="1817" y="11677"/>
                    </a:lnTo>
                    <a:lnTo>
                      <a:pt x="1786" y="11788"/>
                    </a:lnTo>
                    <a:lnTo>
                      <a:pt x="1755" y="11895"/>
                    </a:lnTo>
                    <a:lnTo>
                      <a:pt x="1726" y="11997"/>
                    </a:lnTo>
                    <a:lnTo>
                      <a:pt x="1696" y="12093"/>
                    </a:lnTo>
                    <a:lnTo>
                      <a:pt x="1668" y="12183"/>
                    </a:lnTo>
                    <a:lnTo>
                      <a:pt x="1641" y="12266"/>
                    </a:lnTo>
                    <a:lnTo>
                      <a:pt x="1615" y="12343"/>
                    </a:lnTo>
                    <a:lnTo>
                      <a:pt x="1589" y="12413"/>
                    </a:lnTo>
                    <a:lnTo>
                      <a:pt x="1576" y="12443"/>
                    </a:lnTo>
                    <a:lnTo>
                      <a:pt x="1561" y="12473"/>
                    </a:lnTo>
                    <a:lnTo>
                      <a:pt x="1545" y="12501"/>
                    </a:lnTo>
                    <a:lnTo>
                      <a:pt x="1526" y="12529"/>
                    </a:lnTo>
                    <a:lnTo>
                      <a:pt x="1506" y="12555"/>
                    </a:lnTo>
                    <a:lnTo>
                      <a:pt x="1485" y="12579"/>
                    </a:lnTo>
                    <a:lnTo>
                      <a:pt x="1461" y="12603"/>
                    </a:lnTo>
                    <a:lnTo>
                      <a:pt x="1437" y="12625"/>
                    </a:lnTo>
                    <a:lnTo>
                      <a:pt x="1411" y="12646"/>
                    </a:lnTo>
                    <a:lnTo>
                      <a:pt x="1383" y="12665"/>
                    </a:lnTo>
                    <a:lnTo>
                      <a:pt x="1354" y="12684"/>
                    </a:lnTo>
                    <a:lnTo>
                      <a:pt x="1324" y="12701"/>
                    </a:lnTo>
                    <a:lnTo>
                      <a:pt x="1293" y="12716"/>
                    </a:lnTo>
                    <a:lnTo>
                      <a:pt x="1261" y="12730"/>
                    </a:lnTo>
                    <a:lnTo>
                      <a:pt x="1228" y="12743"/>
                    </a:lnTo>
                    <a:lnTo>
                      <a:pt x="1195" y="12754"/>
                    </a:lnTo>
                    <a:lnTo>
                      <a:pt x="1160" y="12764"/>
                    </a:lnTo>
                    <a:lnTo>
                      <a:pt x="1124" y="12772"/>
                    </a:lnTo>
                    <a:lnTo>
                      <a:pt x="1088" y="12779"/>
                    </a:lnTo>
                    <a:lnTo>
                      <a:pt x="1050" y="12784"/>
                    </a:lnTo>
                    <a:lnTo>
                      <a:pt x="1012" y="12789"/>
                    </a:lnTo>
                    <a:lnTo>
                      <a:pt x="974" y="12791"/>
                    </a:lnTo>
                    <a:lnTo>
                      <a:pt x="936" y="12791"/>
                    </a:lnTo>
                    <a:lnTo>
                      <a:pt x="897" y="12790"/>
                    </a:lnTo>
                    <a:lnTo>
                      <a:pt x="857" y="12788"/>
                    </a:lnTo>
                    <a:lnTo>
                      <a:pt x="818" y="12782"/>
                    </a:lnTo>
                    <a:lnTo>
                      <a:pt x="778" y="12776"/>
                    </a:lnTo>
                    <a:lnTo>
                      <a:pt x="737" y="12769"/>
                    </a:lnTo>
                    <a:lnTo>
                      <a:pt x="697" y="12759"/>
                    </a:lnTo>
                    <a:lnTo>
                      <a:pt x="656" y="12748"/>
                    </a:lnTo>
                    <a:lnTo>
                      <a:pt x="616" y="12735"/>
                    </a:lnTo>
                    <a:lnTo>
                      <a:pt x="576" y="12721"/>
                    </a:lnTo>
                    <a:lnTo>
                      <a:pt x="537" y="12705"/>
                    </a:lnTo>
                    <a:lnTo>
                      <a:pt x="499" y="12687"/>
                    </a:lnTo>
                    <a:lnTo>
                      <a:pt x="461" y="12668"/>
                    </a:lnTo>
                    <a:lnTo>
                      <a:pt x="425" y="12648"/>
                    </a:lnTo>
                    <a:lnTo>
                      <a:pt x="390" y="12627"/>
                    </a:lnTo>
                    <a:lnTo>
                      <a:pt x="356" y="12604"/>
                    </a:lnTo>
                    <a:lnTo>
                      <a:pt x="324" y="12581"/>
                    </a:lnTo>
                    <a:lnTo>
                      <a:pt x="293" y="12556"/>
                    </a:lnTo>
                    <a:lnTo>
                      <a:pt x="264" y="12531"/>
                    </a:lnTo>
                    <a:lnTo>
                      <a:pt x="235" y="12504"/>
                    </a:lnTo>
                    <a:lnTo>
                      <a:pt x="209" y="12477"/>
                    </a:lnTo>
                    <a:lnTo>
                      <a:pt x="183" y="12449"/>
                    </a:lnTo>
                    <a:lnTo>
                      <a:pt x="159" y="12420"/>
                    </a:lnTo>
                    <a:lnTo>
                      <a:pt x="136" y="12391"/>
                    </a:lnTo>
                    <a:lnTo>
                      <a:pt x="115" y="12360"/>
                    </a:lnTo>
                    <a:lnTo>
                      <a:pt x="96" y="12329"/>
                    </a:lnTo>
                    <a:lnTo>
                      <a:pt x="79" y="12298"/>
                    </a:lnTo>
                    <a:lnTo>
                      <a:pt x="63" y="12267"/>
                    </a:lnTo>
                    <a:lnTo>
                      <a:pt x="49" y="12235"/>
                    </a:lnTo>
                    <a:lnTo>
                      <a:pt x="36" y="12203"/>
                    </a:lnTo>
                    <a:lnTo>
                      <a:pt x="26" y="12170"/>
                    </a:lnTo>
                    <a:lnTo>
                      <a:pt x="17" y="12137"/>
                    </a:lnTo>
                    <a:lnTo>
                      <a:pt x="10" y="12105"/>
                    </a:lnTo>
                    <a:lnTo>
                      <a:pt x="5" y="12072"/>
                    </a:lnTo>
                    <a:lnTo>
                      <a:pt x="1" y="12039"/>
                    </a:lnTo>
                    <a:lnTo>
                      <a:pt x="0" y="12006"/>
                    </a:lnTo>
                    <a:lnTo>
                      <a:pt x="1" y="11972"/>
                    </a:lnTo>
                    <a:lnTo>
                      <a:pt x="4" y="11939"/>
                    </a:lnTo>
                    <a:lnTo>
                      <a:pt x="8" y="11907"/>
                    </a:lnTo>
                    <a:lnTo>
                      <a:pt x="15" y="11874"/>
                    </a:lnTo>
                    <a:lnTo>
                      <a:pt x="24" y="11842"/>
                    </a:lnTo>
                    <a:lnTo>
                      <a:pt x="35" y="11811"/>
                    </a:lnTo>
                    <a:lnTo>
                      <a:pt x="74" y="11708"/>
                    </a:lnTo>
                    <a:lnTo>
                      <a:pt x="112" y="11603"/>
                    </a:lnTo>
                    <a:lnTo>
                      <a:pt x="151" y="11494"/>
                    </a:lnTo>
                    <a:lnTo>
                      <a:pt x="189" y="11383"/>
                    </a:lnTo>
                    <a:lnTo>
                      <a:pt x="226" y="11270"/>
                    </a:lnTo>
                    <a:lnTo>
                      <a:pt x="263" y="11154"/>
                    </a:lnTo>
                    <a:lnTo>
                      <a:pt x="300" y="11037"/>
                    </a:lnTo>
                    <a:lnTo>
                      <a:pt x="337" y="10918"/>
                    </a:lnTo>
                    <a:lnTo>
                      <a:pt x="411" y="10676"/>
                    </a:lnTo>
                    <a:lnTo>
                      <a:pt x="486" y="10431"/>
                    </a:lnTo>
                    <a:lnTo>
                      <a:pt x="561" y="10182"/>
                    </a:lnTo>
                    <a:lnTo>
                      <a:pt x="638" y="9934"/>
                    </a:lnTo>
                    <a:lnTo>
                      <a:pt x="677" y="9811"/>
                    </a:lnTo>
                    <a:lnTo>
                      <a:pt x="716" y="9688"/>
                    </a:lnTo>
                    <a:lnTo>
                      <a:pt x="756" y="9565"/>
                    </a:lnTo>
                    <a:lnTo>
                      <a:pt x="798" y="9445"/>
                    </a:lnTo>
                    <a:lnTo>
                      <a:pt x="840" y="9325"/>
                    </a:lnTo>
                    <a:lnTo>
                      <a:pt x="882" y="9207"/>
                    </a:lnTo>
                    <a:lnTo>
                      <a:pt x="926" y="9090"/>
                    </a:lnTo>
                    <a:lnTo>
                      <a:pt x="970" y="8976"/>
                    </a:lnTo>
                    <a:lnTo>
                      <a:pt x="1015" y="8864"/>
                    </a:lnTo>
                    <a:lnTo>
                      <a:pt x="1062" y="8754"/>
                    </a:lnTo>
                    <a:lnTo>
                      <a:pt x="1110" y="8647"/>
                    </a:lnTo>
                    <a:lnTo>
                      <a:pt x="1159" y="8543"/>
                    </a:lnTo>
                    <a:lnTo>
                      <a:pt x="1209" y="8442"/>
                    </a:lnTo>
                    <a:lnTo>
                      <a:pt x="1260" y="8343"/>
                    </a:lnTo>
                    <a:lnTo>
                      <a:pt x="1313" y="8249"/>
                    </a:lnTo>
                    <a:lnTo>
                      <a:pt x="1367" y="8159"/>
                    </a:lnTo>
                    <a:lnTo>
                      <a:pt x="2309" y="6643"/>
                    </a:lnTo>
                    <a:lnTo>
                      <a:pt x="2312" y="6522"/>
                    </a:lnTo>
                    <a:lnTo>
                      <a:pt x="2317" y="6392"/>
                    </a:lnTo>
                    <a:lnTo>
                      <a:pt x="2324" y="6254"/>
                    </a:lnTo>
                    <a:lnTo>
                      <a:pt x="2332" y="6112"/>
                    </a:lnTo>
                    <a:lnTo>
                      <a:pt x="2339" y="5964"/>
                    </a:lnTo>
                    <a:lnTo>
                      <a:pt x="2347" y="5814"/>
                    </a:lnTo>
                    <a:lnTo>
                      <a:pt x="2354" y="5663"/>
                    </a:lnTo>
                    <a:lnTo>
                      <a:pt x="2361" y="5510"/>
                    </a:lnTo>
                    <a:lnTo>
                      <a:pt x="2366" y="5359"/>
                    </a:lnTo>
                    <a:lnTo>
                      <a:pt x="2370" y="5210"/>
                    </a:lnTo>
                    <a:lnTo>
                      <a:pt x="2371" y="5136"/>
                    </a:lnTo>
                    <a:lnTo>
                      <a:pt x="2371" y="5063"/>
                    </a:lnTo>
                    <a:lnTo>
                      <a:pt x="2371" y="4992"/>
                    </a:lnTo>
                    <a:lnTo>
                      <a:pt x="2370" y="4923"/>
                    </a:lnTo>
                    <a:lnTo>
                      <a:pt x="2369" y="4854"/>
                    </a:lnTo>
                    <a:lnTo>
                      <a:pt x="2366" y="4788"/>
                    </a:lnTo>
                    <a:lnTo>
                      <a:pt x="2363" y="4722"/>
                    </a:lnTo>
                    <a:lnTo>
                      <a:pt x="2359" y="4659"/>
                    </a:lnTo>
                    <a:lnTo>
                      <a:pt x="2354" y="4598"/>
                    </a:lnTo>
                    <a:lnTo>
                      <a:pt x="2348" y="4540"/>
                    </a:lnTo>
                    <a:lnTo>
                      <a:pt x="2340" y="4484"/>
                    </a:lnTo>
                    <a:lnTo>
                      <a:pt x="2332" y="4431"/>
                    </a:lnTo>
                    <a:lnTo>
                      <a:pt x="1435" y="5131"/>
                    </a:lnTo>
                    <a:lnTo>
                      <a:pt x="1370" y="5177"/>
                    </a:lnTo>
                    <a:lnTo>
                      <a:pt x="1306" y="5211"/>
                    </a:lnTo>
                    <a:lnTo>
                      <a:pt x="1242" y="5236"/>
                    </a:lnTo>
                    <a:lnTo>
                      <a:pt x="1178" y="5252"/>
                    </a:lnTo>
                    <a:lnTo>
                      <a:pt x="1115" y="5259"/>
                    </a:lnTo>
                    <a:lnTo>
                      <a:pt x="1051" y="5259"/>
                    </a:lnTo>
                    <a:lnTo>
                      <a:pt x="989" y="5251"/>
                    </a:lnTo>
                    <a:lnTo>
                      <a:pt x="929" y="5236"/>
                    </a:lnTo>
                    <a:lnTo>
                      <a:pt x="869" y="5214"/>
                    </a:lnTo>
                    <a:lnTo>
                      <a:pt x="812" y="5187"/>
                    </a:lnTo>
                    <a:lnTo>
                      <a:pt x="755" y="5153"/>
                    </a:lnTo>
                    <a:lnTo>
                      <a:pt x="701" y="5115"/>
                    </a:lnTo>
                    <a:lnTo>
                      <a:pt x="650" y="5073"/>
                    </a:lnTo>
                    <a:lnTo>
                      <a:pt x="601" y="5028"/>
                    </a:lnTo>
                    <a:lnTo>
                      <a:pt x="555" y="4978"/>
                    </a:lnTo>
                    <a:lnTo>
                      <a:pt x="512" y="4926"/>
                    </a:lnTo>
                    <a:lnTo>
                      <a:pt x="472" y="4872"/>
                    </a:lnTo>
                    <a:lnTo>
                      <a:pt x="435" y="4816"/>
                    </a:lnTo>
                    <a:lnTo>
                      <a:pt x="403" y="4758"/>
                    </a:lnTo>
                    <a:lnTo>
                      <a:pt x="375" y="4699"/>
                    </a:lnTo>
                    <a:lnTo>
                      <a:pt x="350" y="4641"/>
                    </a:lnTo>
                    <a:lnTo>
                      <a:pt x="331" y="4583"/>
                    </a:lnTo>
                    <a:lnTo>
                      <a:pt x="316" y="4526"/>
                    </a:lnTo>
                    <a:lnTo>
                      <a:pt x="306" y="4470"/>
                    </a:lnTo>
                    <a:lnTo>
                      <a:pt x="301" y="4416"/>
                    </a:lnTo>
                    <a:lnTo>
                      <a:pt x="302" y="4363"/>
                    </a:lnTo>
                    <a:lnTo>
                      <a:pt x="308" y="4314"/>
                    </a:lnTo>
                    <a:lnTo>
                      <a:pt x="320" y="4268"/>
                    </a:lnTo>
                    <a:lnTo>
                      <a:pt x="338" y="4226"/>
                    </a:lnTo>
                    <a:lnTo>
                      <a:pt x="363" y="4189"/>
                    </a:lnTo>
                    <a:lnTo>
                      <a:pt x="394" y="4157"/>
                    </a:lnTo>
                    <a:lnTo>
                      <a:pt x="432" y="4130"/>
                    </a:lnTo>
                    <a:lnTo>
                      <a:pt x="538" y="4070"/>
                    </a:lnTo>
                    <a:lnTo>
                      <a:pt x="640" y="4013"/>
                    </a:lnTo>
                    <a:lnTo>
                      <a:pt x="740" y="3957"/>
                    </a:lnTo>
                    <a:lnTo>
                      <a:pt x="837" y="3905"/>
                    </a:lnTo>
                    <a:lnTo>
                      <a:pt x="1022" y="3805"/>
                    </a:lnTo>
                    <a:lnTo>
                      <a:pt x="1196" y="3710"/>
                    </a:lnTo>
                    <a:lnTo>
                      <a:pt x="1279" y="3663"/>
                    </a:lnTo>
                    <a:lnTo>
                      <a:pt x="1358" y="3616"/>
                    </a:lnTo>
                    <a:lnTo>
                      <a:pt x="1435" y="3569"/>
                    </a:lnTo>
                    <a:lnTo>
                      <a:pt x="1509" y="3520"/>
                    </a:lnTo>
                    <a:lnTo>
                      <a:pt x="1579" y="3471"/>
                    </a:lnTo>
                    <a:lnTo>
                      <a:pt x="1646" y="3421"/>
                    </a:lnTo>
                    <a:lnTo>
                      <a:pt x="1711" y="3369"/>
                    </a:lnTo>
                    <a:lnTo>
                      <a:pt x="1772" y="3315"/>
                    </a:lnTo>
                    <a:lnTo>
                      <a:pt x="1829" y="3258"/>
                    </a:lnTo>
                    <a:lnTo>
                      <a:pt x="1884" y="3199"/>
                    </a:lnTo>
                    <a:lnTo>
                      <a:pt x="1935" y="3135"/>
                    </a:lnTo>
                    <a:lnTo>
                      <a:pt x="1982" y="3069"/>
                    </a:lnTo>
                    <a:lnTo>
                      <a:pt x="2028" y="2998"/>
                    </a:lnTo>
                    <a:lnTo>
                      <a:pt x="2069" y="2924"/>
                    </a:lnTo>
                    <a:lnTo>
                      <a:pt x="2106" y="2845"/>
                    </a:lnTo>
                    <a:lnTo>
                      <a:pt x="2140" y="2760"/>
                    </a:lnTo>
                    <a:lnTo>
                      <a:pt x="2171" y="2671"/>
                    </a:lnTo>
                    <a:lnTo>
                      <a:pt x="2198" y="2575"/>
                    </a:lnTo>
                    <a:lnTo>
                      <a:pt x="2222" y="2474"/>
                    </a:lnTo>
                    <a:lnTo>
                      <a:pt x="2242" y="2367"/>
                    </a:lnTo>
                    <a:lnTo>
                      <a:pt x="2258" y="2252"/>
                    </a:lnTo>
                    <a:lnTo>
                      <a:pt x="2271" y="2130"/>
                    </a:lnTo>
                    <a:lnTo>
                      <a:pt x="2280" y="2001"/>
                    </a:lnTo>
                    <a:lnTo>
                      <a:pt x="2285" y="1863"/>
                    </a:lnTo>
                    <a:lnTo>
                      <a:pt x="2291" y="1749"/>
                    </a:lnTo>
                    <a:lnTo>
                      <a:pt x="2305" y="1640"/>
                    </a:lnTo>
                    <a:lnTo>
                      <a:pt x="2326" y="1533"/>
                    </a:lnTo>
                    <a:lnTo>
                      <a:pt x="2352" y="1432"/>
                    </a:lnTo>
                    <a:lnTo>
                      <a:pt x="2384" y="1335"/>
                    </a:lnTo>
                    <a:lnTo>
                      <a:pt x="2422" y="1241"/>
                    </a:lnTo>
                    <a:lnTo>
                      <a:pt x="2466" y="1151"/>
                    </a:lnTo>
                    <a:lnTo>
                      <a:pt x="2515" y="1066"/>
                    </a:lnTo>
                    <a:lnTo>
                      <a:pt x="2569" y="984"/>
                    </a:lnTo>
                    <a:lnTo>
                      <a:pt x="2627" y="906"/>
                    </a:lnTo>
                    <a:lnTo>
                      <a:pt x="2691" y="832"/>
                    </a:lnTo>
                    <a:lnTo>
                      <a:pt x="2758" y="761"/>
                    </a:lnTo>
                    <a:lnTo>
                      <a:pt x="2829" y="693"/>
                    </a:lnTo>
                    <a:lnTo>
                      <a:pt x="2903" y="630"/>
                    </a:lnTo>
                    <a:lnTo>
                      <a:pt x="2982" y="570"/>
                    </a:lnTo>
                    <a:lnTo>
                      <a:pt x="3063" y="513"/>
                    </a:lnTo>
                    <a:lnTo>
                      <a:pt x="3146" y="460"/>
                    </a:lnTo>
                    <a:lnTo>
                      <a:pt x="3232" y="409"/>
                    </a:lnTo>
                    <a:lnTo>
                      <a:pt x="3320" y="362"/>
                    </a:lnTo>
                    <a:lnTo>
                      <a:pt x="3410" y="317"/>
                    </a:lnTo>
                    <a:lnTo>
                      <a:pt x="3501" y="277"/>
                    </a:lnTo>
                    <a:lnTo>
                      <a:pt x="3595" y="239"/>
                    </a:lnTo>
                    <a:lnTo>
                      <a:pt x="3688" y="204"/>
                    </a:lnTo>
                    <a:lnTo>
                      <a:pt x="3782" y="171"/>
                    </a:lnTo>
                    <a:lnTo>
                      <a:pt x="3878" y="142"/>
                    </a:lnTo>
                    <a:lnTo>
                      <a:pt x="3973" y="115"/>
                    </a:lnTo>
                    <a:lnTo>
                      <a:pt x="4067" y="91"/>
                    </a:lnTo>
                    <a:lnTo>
                      <a:pt x="4162" y="70"/>
                    </a:lnTo>
                    <a:lnTo>
                      <a:pt x="4256" y="51"/>
                    </a:lnTo>
                    <a:lnTo>
                      <a:pt x="4349" y="35"/>
                    </a:lnTo>
                    <a:lnTo>
                      <a:pt x="4440" y="21"/>
                    </a:lnTo>
                    <a:lnTo>
                      <a:pt x="4531" y="9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28" name="Freeform 10"/>
              <p:cNvSpPr>
                <a:spLocks/>
              </p:cNvSpPr>
              <p:nvPr/>
            </p:nvSpPr>
            <p:spPr bwMode="auto">
              <a:xfrm>
                <a:off x="1101725" y="5000627"/>
                <a:ext cx="225424" cy="236539"/>
              </a:xfrm>
              <a:custGeom>
                <a:avLst/>
                <a:gdLst>
                  <a:gd name="T0" fmla="*/ 2147483647 w 2821"/>
                  <a:gd name="T1" fmla="*/ 2147483647 h 2969"/>
                  <a:gd name="T2" fmla="*/ 2147483647 w 2821"/>
                  <a:gd name="T3" fmla="*/ 2147483647 h 2969"/>
                  <a:gd name="T4" fmla="*/ 2147483647 w 2821"/>
                  <a:gd name="T5" fmla="*/ 2147483647 h 2969"/>
                  <a:gd name="T6" fmla="*/ 2147483647 w 2821"/>
                  <a:gd name="T7" fmla="*/ 2147483647 h 2969"/>
                  <a:gd name="T8" fmla="*/ 2147483647 w 2821"/>
                  <a:gd name="T9" fmla="*/ 2147483647 h 2969"/>
                  <a:gd name="T10" fmla="*/ 2147483647 w 2821"/>
                  <a:gd name="T11" fmla="*/ 2147483647 h 2969"/>
                  <a:gd name="T12" fmla="*/ 2147483647 w 2821"/>
                  <a:gd name="T13" fmla="*/ 2147483647 h 2969"/>
                  <a:gd name="T14" fmla="*/ 2147483647 w 2821"/>
                  <a:gd name="T15" fmla="*/ 2147483647 h 2969"/>
                  <a:gd name="T16" fmla="*/ 2147483647 w 2821"/>
                  <a:gd name="T17" fmla="*/ 2147483647 h 2969"/>
                  <a:gd name="T18" fmla="*/ 2147483647 w 2821"/>
                  <a:gd name="T19" fmla="*/ 2147483647 h 2969"/>
                  <a:gd name="T20" fmla="*/ 2147483647 w 2821"/>
                  <a:gd name="T21" fmla="*/ 2147483647 h 2969"/>
                  <a:gd name="T22" fmla="*/ 2147483647 w 2821"/>
                  <a:gd name="T23" fmla="*/ 2147483647 h 2969"/>
                  <a:gd name="T24" fmla="*/ 2147483647 w 2821"/>
                  <a:gd name="T25" fmla="*/ 2147483647 h 2969"/>
                  <a:gd name="T26" fmla="*/ 2147483647 w 2821"/>
                  <a:gd name="T27" fmla="*/ 2147483647 h 2969"/>
                  <a:gd name="T28" fmla="*/ 2147483647 w 2821"/>
                  <a:gd name="T29" fmla="*/ 2147483647 h 2969"/>
                  <a:gd name="T30" fmla="*/ 2147483647 w 2821"/>
                  <a:gd name="T31" fmla="*/ 2147483647 h 2969"/>
                  <a:gd name="T32" fmla="*/ 2147483647 w 2821"/>
                  <a:gd name="T33" fmla="*/ 2147483647 h 2969"/>
                  <a:gd name="T34" fmla="*/ 2147483647 w 2821"/>
                  <a:gd name="T35" fmla="*/ 2147483647 h 2969"/>
                  <a:gd name="T36" fmla="*/ 2147483647 w 2821"/>
                  <a:gd name="T37" fmla="*/ 2147483647 h 2969"/>
                  <a:gd name="T38" fmla="*/ 2147483647 w 2821"/>
                  <a:gd name="T39" fmla="*/ 2147483647 h 2969"/>
                  <a:gd name="T40" fmla="*/ 2147483647 w 2821"/>
                  <a:gd name="T41" fmla="*/ 2147483647 h 2969"/>
                  <a:gd name="T42" fmla="*/ 2147483647 w 2821"/>
                  <a:gd name="T43" fmla="*/ 2147483647 h 2969"/>
                  <a:gd name="T44" fmla="*/ 2147483647 w 2821"/>
                  <a:gd name="T45" fmla="*/ 2147483647 h 2969"/>
                  <a:gd name="T46" fmla="*/ 2147483647 w 2821"/>
                  <a:gd name="T47" fmla="*/ 2147483647 h 2969"/>
                  <a:gd name="T48" fmla="*/ 2147483647 w 2821"/>
                  <a:gd name="T49" fmla="*/ 2147483647 h 2969"/>
                  <a:gd name="T50" fmla="*/ 2147483647 w 2821"/>
                  <a:gd name="T51" fmla="*/ 2147483647 h 2969"/>
                  <a:gd name="T52" fmla="*/ 2147483647 w 2821"/>
                  <a:gd name="T53" fmla="*/ 2147483647 h 2969"/>
                  <a:gd name="T54" fmla="*/ 2147483647 w 2821"/>
                  <a:gd name="T55" fmla="*/ 2147483647 h 2969"/>
                  <a:gd name="T56" fmla="*/ 2147483647 w 2821"/>
                  <a:gd name="T57" fmla="*/ 2147483647 h 2969"/>
                  <a:gd name="T58" fmla="*/ 2147483647 w 2821"/>
                  <a:gd name="T59" fmla="*/ 2147483647 h 2969"/>
                  <a:gd name="T60" fmla="*/ 2147483647 w 2821"/>
                  <a:gd name="T61" fmla="*/ 2147483647 h 2969"/>
                  <a:gd name="T62" fmla="*/ 2147483647 w 2821"/>
                  <a:gd name="T63" fmla="*/ 2147483647 h 2969"/>
                  <a:gd name="T64" fmla="*/ 2147483647 w 2821"/>
                  <a:gd name="T65" fmla="*/ 2147483647 h 2969"/>
                  <a:gd name="T66" fmla="*/ 2147483647 w 2821"/>
                  <a:gd name="T67" fmla="*/ 2147483647 h 2969"/>
                  <a:gd name="T68" fmla="*/ 2147483647 w 2821"/>
                  <a:gd name="T69" fmla="*/ 2147483647 h 2969"/>
                  <a:gd name="T70" fmla="*/ 2147483647 w 2821"/>
                  <a:gd name="T71" fmla="*/ 2147483647 h 2969"/>
                  <a:gd name="T72" fmla="*/ 2147483647 w 2821"/>
                  <a:gd name="T73" fmla="*/ 2147483647 h 2969"/>
                  <a:gd name="T74" fmla="*/ 2147483647 w 2821"/>
                  <a:gd name="T75" fmla="*/ 2147483647 h 2969"/>
                  <a:gd name="T76" fmla="*/ 2147483647 w 2821"/>
                  <a:gd name="T77" fmla="*/ 2147483647 h 2969"/>
                  <a:gd name="T78" fmla="*/ 2147483647 w 2821"/>
                  <a:gd name="T79" fmla="*/ 2147483647 h 2969"/>
                  <a:gd name="T80" fmla="*/ 2147483647 w 2821"/>
                  <a:gd name="T81" fmla="*/ 2147483647 h 2969"/>
                  <a:gd name="T82" fmla="*/ 2147483647 w 2821"/>
                  <a:gd name="T83" fmla="*/ 2147483647 h 2969"/>
                  <a:gd name="T84" fmla="*/ 2147483647 w 2821"/>
                  <a:gd name="T85" fmla="*/ 0 h 29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21"/>
                  <a:gd name="T130" fmla="*/ 0 h 2969"/>
                  <a:gd name="T131" fmla="*/ 2821 w 2821"/>
                  <a:gd name="T132" fmla="*/ 2969 h 29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21" h="2969">
                    <a:moveTo>
                      <a:pt x="1411" y="0"/>
                    </a:moveTo>
                    <a:lnTo>
                      <a:pt x="1483" y="2"/>
                    </a:lnTo>
                    <a:lnTo>
                      <a:pt x="1555" y="8"/>
                    </a:lnTo>
                    <a:lnTo>
                      <a:pt x="1625" y="17"/>
                    </a:lnTo>
                    <a:lnTo>
                      <a:pt x="1695" y="30"/>
                    </a:lnTo>
                    <a:lnTo>
                      <a:pt x="1763" y="47"/>
                    </a:lnTo>
                    <a:lnTo>
                      <a:pt x="1830" y="67"/>
                    </a:lnTo>
                    <a:lnTo>
                      <a:pt x="1895" y="90"/>
                    </a:lnTo>
                    <a:lnTo>
                      <a:pt x="1959" y="117"/>
                    </a:lnTo>
                    <a:lnTo>
                      <a:pt x="2022" y="146"/>
                    </a:lnTo>
                    <a:lnTo>
                      <a:pt x="2083" y="179"/>
                    </a:lnTo>
                    <a:lnTo>
                      <a:pt x="2142" y="216"/>
                    </a:lnTo>
                    <a:lnTo>
                      <a:pt x="2199" y="254"/>
                    </a:lnTo>
                    <a:lnTo>
                      <a:pt x="2254" y="296"/>
                    </a:lnTo>
                    <a:lnTo>
                      <a:pt x="2307" y="339"/>
                    </a:lnTo>
                    <a:lnTo>
                      <a:pt x="2359" y="386"/>
                    </a:lnTo>
                    <a:lnTo>
                      <a:pt x="2408" y="435"/>
                    </a:lnTo>
                    <a:lnTo>
                      <a:pt x="2454" y="487"/>
                    </a:lnTo>
                    <a:lnTo>
                      <a:pt x="2499" y="540"/>
                    </a:lnTo>
                    <a:lnTo>
                      <a:pt x="2540" y="597"/>
                    </a:lnTo>
                    <a:lnTo>
                      <a:pt x="2579" y="655"/>
                    </a:lnTo>
                    <a:lnTo>
                      <a:pt x="2616" y="715"/>
                    </a:lnTo>
                    <a:lnTo>
                      <a:pt x="2651" y="777"/>
                    </a:lnTo>
                    <a:lnTo>
                      <a:pt x="2682" y="841"/>
                    </a:lnTo>
                    <a:lnTo>
                      <a:pt x="2710" y="907"/>
                    </a:lnTo>
                    <a:lnTo>
                      <a:pt x="2735" y="974"/>
                    </a:lnTo>
                    <a:lnTo>
                      <a:pt x="2757" y="1044"/>
                    </a:lnTo>
                    <a:lnTo>
                      <a:pt x="2776" y="1114"/>
                    </a:lnTo>
                    <a:lnTo>
                      <a:pt x="2792" y="1186"/>
                    </a:lnTo>
                    <a:lnTo>
                      <a:pt x="2804" y="1259"/>
                    </a:lnTo>
                    <a:lnTo>
                      <a:pt x="2813" y="1333"/>
                    </a:lnTo>
                    <a:lnTo>
                      <a:pt x="2819" y="1409"/>
                    </a:lnTo>
                    <a:lnTo>
                      <a:pt x="2821" y="1485"/>
                    </a:lnTo>
                    <a:lnTo>
                      <a:pt x="2819" y="1561"/>
                    </a:lnTo>
                    <a:lnTo>
                      <a:pt x="2813" y="1637"/>
                    </a:lnTo>
                    <a:lnTo>
                      <a:pt x="2804" y="1711"/>
                    </a:lnTo>
                    <a:lnTo>
                      <a:pt x="2792" y="1784"/>
                    </a:lnTo>
                    <a:lnTo>
                      <a:pt x="2776" y="1856"/>
                    </a:lnTo>
                    <a:lnTo>
                      <a:pt x="2757" y="1926"/>
                    </a:lnTo>
                    <a:lnTo>
                      <a:pt x="2735" y="1995"/>
                    </a:lnTo>
                    <a:lnTo>
                      <a:pt x="2710" y="2063"/>
                    </a:lnTo>
                    <a:lnTo>
                      <a:pt x="2682" y="2128"/>
                    </a:lnTo>
                    <a:lnTo>
                      <a:pt x="2651" y="2192"/>
                    </a:lnTo>
                    <a:lnTo>
                      <a:pt x="2616" y="2255"/>
                    </a:lnTo>
                    <a:lnTo>
                      <a:pt x="2579" y="2315"/>
                    </a:lnTo>
                    <a:lnTo>
                      <a:pt x="2540" y="2373"/>
                    </a:lnTo>
                    <a:lnTo>
                      <a:pt x="2499" y="2429"/>
                    </a:lnTo>
                    <a:lnTo>
                      <a:pt x="2454" y="2483"/>
                    </a:lnTo>
                    <a:lnTo>
                      <a:pt x="2408" y="2534"/>
                    </a:lnTo>
                    <a:lnTo>
                      <a:pt x="2359" y="2583"/>
                    </a:lnTo>
                    <a:lnTo>
                      <a:pt x="2307" y="2631"/>
                    </a:lnTo>
                    <a:lnTo>
                      <a:pt x="2254" y="2675"/>
                    </a:lnTo>
                    <a:lnTo>
                      <a:pt x="2199" y="2716"/>
                    </a:lnTo>
                    <a:lnTo>
                      <a:pt x="2142" y="2755"/>
                    </a:lnTo>
                    <a:lnTo>
                      <a:pt x="2083" y="2790"/>
                    </a:lnTo>
                    <a:lnTo>
                      <a:pt x="2022" y="2823"/>
                    </a:lnTo>
                    <a:lnTo>
                      <a:pt x="1959" y="2853"/>
                    </a:lnTo>
                    <a:lnTo>
                      <a:pt x="1895" y="2879"/>
                    </a:lnTo>
                    <a:lnTo>
                      <a:pt x="1830" y="2902"/>
                    </a:lnTo>
                    <a:lnTo>
                      <a:pt x="1763" y="2922"/>
                    </a:lnTo>
                    <a:lnTo>
                      <a:pt x="1695" y="2939"/>
                    </a:lnTo>
                    <a:lnTo>
                      <a:pt x="1625" y="2952"/>
                    </a:lnTo>
                    <a:lnTo>
                      <a:pt x="1555" y="2961"/>
                    </a:lnTo>
                    <a:lnTo>
                      <a:pt x="1483" y="2967"/>
                    </a:lnTo>
                    <a:lnTo>
                      <a:pt x="1411" y="2969"/>
                    </a:lnTo>
                    <a:lnTo>
                      <a:pt x="1338" y="2967"/>
                    </a:lnTo>
                    <a:lnTo>
                      <a:pt x="1266" y="2961"/>
                    </a:lnTo>
                    <a:lnTo>
                      <a:pt x="1196" y="2952"/>
                    </a:lnTo>
                    <a:lnTo>
                      <a:pt x="1127" y="2939"/>
                    </a:lnTo>
                    <a:lnTo>
                      <a:pt x="1058" y="2922"/>
                    </a:lnTo>
                    <a:lnTo>
                      <a:pt x="991" y="2902"/>
                    </a:lnTo>
                    <a:lnTo>
                      <a:pt x="926" y="2879"/>
                    </a:lnTo>
                    <a:lnTo>
                      <a:pt x="862" y="2853"/>
                    </a:lnTo>
                    <a:lnTo>
                      <a:pt x="800" y="2823"/>
                    </a:lnTo>
                    <a:lnTo>
                      <a:pt x="738" y="2790"/>
                    </a:lnTo>
                    <a:lnTo>
                      <a:pt x="679" y="2755"/>
                    </a:lnTo>
                    <a:lnTo>
                      <a:pt x="622" y="2716"/>
                    </a:lnTo>
                    <a:lnTo>
                      <a:pt x="567" y="2675"/>
                    </a:lnTo>
                    <a:lnTo>
                      <a:pt x="514" y="2631"/>
                    </a:lnTo>
                    <a:lnTo>
                      <a:pt x="463" y="2583"/>
                    </a:lnTo>
                    <a:lnTo>
                      <a:pt x="413" y="2534"/>
                    </a:lnTo>
                    <a:lnTo>
                      <a:pt x="367" y="2483"/>
                    </a:lnTo>
                    <a:lnTo>
                      <a:pt x="322" y="2429"/>
                    </a:lnTo>
                    <a:lnTo>
                      <a:pt x="281" y="2373"/>
                    </a:lnTo>
                    <a:lnTo>
                      <a:pt x="242" y="2315"/>
                    </a:lnTo>
                    <a:lnTo>
                      <a:pt x="205" y="2255"/>
                    </a:lnTo>
                    <a:lnTo>
                      <a:pt x="171" y="2192"/>
                    </a:lnTo>
                    <a:lnTo>
                      <a:pt x="140" y="2128"/>
                    </a:lnTo>
                    <a:lnTo>
                      <a:pt x="111" y="2063"/>
                    </a:lnTo>
                    <a:lnTo>
                      <a:pt x="86" y="1995"/>
                    </a:lnTo>
                    <a:lnTo>
                      <a:pt x="64" y="1926"/>
                    </a:lnTo>
                    <a:lnTo>
                      <a:pt x="45" y="1856"/>
                    </a:lnTo>
                    <a:lnTo>
                      <a:pt x="29" y="1784"/>
                    </a:lnTo>
                    <a:lnTo>
                      <a:pt x="17" y="1711"/>
                    </a:lnTo>
                    <a:lnTo>
                      <a:pt x="8" y="1637"/>
                    </a:lnTo>
                    <a:lnTo>
                      <a:pt x="2" y="1561"/>
                    </a:lnTo>
                    <a:lnTo>
                      <a:pt x="0" y="1485"/>
                    </a:lnTo>
                    <a:lnTo>
                      <a:pt x="2" y="1409"/>
                    </a:lnTo>
                    <a:lnTo>
                      <a:pt x="8" y="1333"/>
                    </a:lnTo>
                    <a:lnTo>
                      <a:pt x="17" y="1259"/>
                    </a:lnTo>
                    <a:lnTo>
                      <a:pt x="29" y="1186"/>
                    </a:lnTo>
                    <a:lnTo>
                      <a:pt x="45" y="1114"/>
                    </a:lnTo>
                    <a:lnTo>
                      <a:pt x="64" y="1044"/>
                    </a:lnTo>
                    <a:lnTo>
                      <a:pt x="86" y="974"/>
                    </a:lnTo>
                    <a:lnTo>
                      <a:pt x="111" y="907"/>
                    </a:lnTo>
                    <a:lnTo>
                      <a:pt x="140" y="841"/>
                    </a:lnTo>
                    <a:lnTo>
                      <a:pt x="171" y="777"/>
                    </a:lnTo>
                    <a:lnTo>
                      <a:pt x="205" y="715"/>
                    </a:lnTo>
                    <a:lnTo>
                      <a:pt x="242" y="655"/>
                    </a:lnTo>
                    <a:lnTo>
                      <a:pt x="281" y="597"/>
                    </a:lnTo>
                    <a:lnTo>
                      <a:pt x="322" y="540"/>
                    </a:lnTo>
                    <a:lnTo>
                      <a:pt x="367" y="487"/>
                    </a:lnTo>
                    <a:lnTo>
                      <a:pt x="413" y="435"/>
                    </a:lnTo>
                    <a:lnTo>
                      <a:pt x="463" y="386"/>
                    </a:lnTo>
                    <a:lnTo>
                      <a:pt x="514" y="339"/>
                    </a:lnTo>
                    <a:lnTo>
                      <a:pt x="567" y="296"/>
                    </a:lnTo>
                    <a:lnTo>
                      <a:pt x="622" y="254"/>
                    </a:lnTo>
                    <a:lnTo>
                      <a:pt x="679" y="216"/>
                    </a:lnTo>
                    <a:lnTo>
                      <a:pt x="738" y="179"/>
                    </a:lnTo>
                    <a:lnTo>
                      <a:pt x="800" y="146"/>
                    </a:lnTo>
                    <a:lnTo>
                      <a:pt x="862" y="117"/>
                    </a:lnTo>
                    <a:lnTo>
                      <a:pt x="926" y="90"/>
                    </a:lnTo>
                    <a:lnTo>
                      <a:pt x="991" y="67"/>
                    </a:lnTo>
                    <a:lnTo>
                      <a:pt x="1058" y="47"/>
                    </a:lnTo>
                    <a:lnTo>
                      <a:pt x="1127" y="30"/>
                    </a:lnTo>
                    <a:lnTo>
                      <a:pt x="1196" y="17"/>
                    </a:lnTo>
                    <a:lnTo>
                      <a:pt x="1266" y="8"/>
                    </a:lnTo>
                    <a:lnTo>
                      <a:pt x="1338" y="2"/>
                    </a:lnTo>
                    <a:lnTo>
                      <a:pt x="1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1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29" name="Freeform 11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0" name="Freeform 12"/>
              <p:cNvSpPr>
                <a:spLocks/>
              </p:cNvSpPr>
              <p:nvPr/>
            </p:nvSpPr>
            <p:spPr bwMode="auto">
              <a:xfrm>
                <a:off x="1258888" y="5480050"/>
                <a:ext cx="222250" cy="790575"/>
              </a:xfrm>
              <a:custGeom>
                <a:avLst/>
                <a:gdLst>
                  <a:gd name="T0" fmla="*/ 2147483647 w 2805"/>
                  <a:gd name="T1" fmla="*/ 2147483647 h 9963"/>
                  <a:gd name="T2" fmla="*/ 2147483647 w 2805"/>
                  <a:gd name="T3" fmla="*/ 2147483647 h 9963"/>
                  <a:gd name="T4" fmla="*/ 2147483647 w 2805"/>
                  <a:gd name="T5" fmla="*/ 2147483647 h 9963"/>
                  <a:gd name="T6" fmla="*/ 2147483647 w 2805"/>
                  <a:gd name="T7" fmla="*/ 2147483647 h 9963"/>
                  <a:gd name="T8" fmla="*/ 2147483647 w 2805"/>
                  <a:gd name="T9" fmla="*/ 2147483647 h 9963"/>
                  <a:gd name="T10" fmla="*/ 2147483647 w 2805"/>
                  <a:gd name="T11" fmla="*/ 2147483647 h 9963"/>
                  <a:gd name="T12" fmla="*/ 2147483647 w 2805"/>
                  <a:gd name="T13" fmla="*/ 2147483647 h 9963"/>
                  <a:gd name="T14" fmla="*/ 2147483647 w 2805"/>
                  <a:gd name="T15" fmla="*/ 2147483647 h 9963"/>
                  <a:gd name="T16" fmla="*/ 2147483647 w 2805"/>
                  <a:gd name="T17" fmla="*/ 2147483647 h 9963"/>
                  <a:gd name="T18" fmla="*/ 2147483647 w 2805"/>
                  <a:gd name="T19" fmla="*/ 2147483647 h 9963"/>
                  <a:gd name="T20" fmla="*/ 2147483647 w 2805"/>
                  <a:gd name="T21" fmla="*/ 2147483647 h 9963"/>
                  <a:gd name="T22" fmla="*/ 2147483647 w 2805"/>
                  <a:gd name="T23" fmla="*/ 2147483647 h 9963"/>
                  <a:gd name="T24" fmla="*/ 2147483647 w 2805"/>
                  <a:gd name="T25" fmla="*/ 2147483647 h 9963"/>
                  <a:gd name="T26" fmla="*/ 2147483647 w 2805"/>
                  <a:gd name="T27" fmla="*/ 2147483647 h 9963"/>
                  <a:gd name="T28" fmla="*/ 2147483647 w 2805"/>
                  <a:gd name="T29" fmla="*/ 2147483647 h 9963"/>
                  <a:gd name="T30" fmla="*/ 2147483647 w 2805"/>
                  <a:gd name="T31" fmla="*/ 2147483647 h 9963"/>
                  <a:gd name="T32" fmla="*/ 2147483647 w 2805"/>
                  <a:gd name="T33" fmla="*/ 2147483647 h 9963"/>
                  <a:gd name="T34" fmla="*/ 2147483647 w 2805"/>
                  <a:gd name="T35" fmla="*/ 2147483647 h 9963"/>
                  <a:gd name="T36" fmla="*/ 2147483647 w 2805"/>
                  <a:gd name="T37" fmla="*/ 2147483647 h 9963"/>
                  <a:gd name="T38" fmla="*/ 2147483647 w 2805"/>
                  <a:gd name="T39" fmla="*/ 2147483647 h 9963"/>
                  <a:gd name="T40" fmla="*/ 2147483647 w 2805"/>
                  <a:gd name="T41" fmla="*/ 2147483647 h 9963"/>
                  <a:gd name="T42" fmla="*/ 2147483647 w 2805"/>
                  <a:gd name="T43" fmla="*/ 2147483647 h 9963"/>
                  <a:gd name="T44" fmla="*/ 2147483647 w 2805"/>
                  <a:gd name="T45" fmla="*/ 2147483647 h 9963"/>
                  <a:gd name="T46" fmla="*/ 2147483647 w 2805"/>
                  <a:gd name="T47" fmla="*/ 2147483647 h 9963"/>
                  <a:gd name="T48" fmla="*/ 0 w 2805"/>
                  <a:gd name="T49" fmla="*/ 2147483647 h 9963"/>
                  <a:gd name="T50" fmla="*/ 2147483647 w 2805"/>
                  <a:gd name="T51" fmla="*/ 2147483647 h 9963"/>
                  <a:gd name="T52" fmla="*/ 2147483647 w 2805"/>
                  <a:gd name="T53" fmla="*/ 2147483647 h 9963"/>
                  <a:gd name="T54" fmla="*/ 2147483647 w 2805"/>
                  <a:gd name="T55" fmla="*/ 2147483647 h 9963"/>
                  <a:gd name="T56" fmla="*/ 2147483647 w 2805"/>
                  <a:gd name="T57" fmla="*/ 2147483647 h 9963"/>
                  <a:gd name="T58" fmla="*/ 2147483647 w 2805"/>
                  <a:gd name="T59" fmla="*/ 2147483647 h 9963"/>
                  <a:gd name="T60" fmla="*/ 2147483647 w 2805"/>
                  <a:gd name="T61" fmla="*/ 2147483647 h 9963"/>
                  <a:gd name="T62" fmla="*/ 2147483647 w 2805"/>
                  <a:gd name="T63" fmla="*/ 2147483647 h 9963"/>
                  <a:gd name="T64" fmla="*/ 2147483647 w 2805"/>
                  <a:gd name="T65" fmla="*/ 2147483647 h 9963"/>
                  <a:gd name="T66" fmla="*/ 2147483647 w 2805"/>
                  <a:gd name="T67" fmla="*/ 2147483647 h 9963"/>
                  <a:gd name="T68" fmla="*/ 2147483647 w 2805"/>
                  <a:gd name="T69" fmla="*/ 2147483647 h 9963"/>
                  <a:gd name="T70" fmla="*/ 2147483647 w 2805"/>
                  <a:gd name="T71" fmla="*/ 2147483647 h 9963"/>
                  <a:gd name="T72" fmla="*/ 2147483647 w 2805"/>
                  <a:gd name="T73" fmla="*/ 2147483647 h 9963"/>
                  <a:gd name="T74" fmla="*/ 2147483647 w 2805"/>
                  <a:gd name="T75" fmla="*/ 2147483647 h 9963"/>
                  <a:gd name="T76" fmla="*/ 2147483647 w 2805"/>
                  <a:gd name="T77" fmla="*/ 2147483647 h 9963"/>
                  <a:gd name="T78" fmla="*/ 2147483647 w 2805"/>
                  <a:gd name="T79" fmla="*/ 2147483647 h 9963"/>
                  <a:gd name="T80" fmla="*/ 2147483647 w 2805"/>
                  <a:gd name="T81" fmla="*/ 2147483647 h 9963"/>
                  <a:gd name="T82" fmla="*/ 2147483647 w 2805"/>
                  <a:gd name="T83" fmla="*/ 2147483647 h 9963"/>
                  <a:gd name="T84" fmla="*/ 2147483647 w 2805"/>
                  <a:gd name="T85" fmla="*/ 2147483647 h 9963"/>
                  <a:gd name="T86" fmla="*/ 2147483647 w 2805"/>
                  <a:gd name="T87" fmla="*/ 2147483647 h 9963"/>
                  <a:gd name="T88" fmla="*/ 2147483647 w 2805"/>
                  <a:gd name="T89" fmla="*/ 2147483647 h 9963"/>
                  <a:gd name="T90" fmla="*/ 2147483647 w 2805"/>
                  <a:gd name="T91" fmla="*/ 2147483647 h 9963"/>
                  <a:gd name="T92" fmla="*/ 2147483647 w 2805"/>
                  <a:gd name="T93" fmla="*/ 2147483647 h 9963"/>
                  <a:gd name="T94" fmla="*/ 2147483647 w 2805"/>
                  <a:gd name="T95" fmla="*/ 2147483647 h 9963"/>
                  <a:gd name="T96" fmla="*/ 2147483647 w 2805"/>
                  <a:gd name="T97" fmla="*/ 2147483647 h 9963"/>
                  <a:gd name="T98" fmla="*/ 2147483647 w 2805"/>
                  <a:gd name="T99" fmla="*/ 2147483647 h 9963"/>
                  <a:gd name="T100" fmla="*/ 2147483647 w 2805"/>
                  <a:gd name="T101" fmla="*/ 2147483647 h 9963"/>
                  <a:gd name="T102" fmla="*/ 2147483647 w 2805"/>
                  <a:gd name="T103" fmla="*/ 2147483647 h 9963"/>
                  <a:gd name="T104" fmla="*/ 2147483647 w 2805"/>
                  <a:gd name="T105" fmla="*/ 2147483647 h 99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05"/>
                  <a:gd name="T160" fmla="*/ 0 h 9963"/>
                  <a:gd name="T161" fmla="*/ 2805 w 2805"/>
                  <a:gd name="T162" fmla="*/ 9963 h 99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05" h="9963">
                    <a:moveTo>
                      <a:pt x="2707" y="0"/>
                    </a:moveTo>
                    <a:lnTo>
                      <a:pt x="2715" y="62"/>
                    </a:lnTo>
                    <a:lnTo>
                      <a:pt x="2724" y="129"/>
                    </a:lnTo>
                    <a:lnTo>
                      <a:pt x="2734" y="203"/>
                    </a:lnTo>
                    <a:lnTo>
                      <a:pt x="2744" y="280"/>
                    </a:lnTo>
                    <a:lnTo>
                      <a:pt x="2755" y="360"/>
                    </a:lnTo>
                    <a:lnTo>
                      <a:pt x="2766" y="443"/>
                    </a:lnTo>
                    <a:lnTo>
                      <a:pt x="2776" y="528"/>
                    </a:lnTo>
                    <a:lnTo>
                      <a:pt x="2785" y="615"/>
                    </a:lnTo>
                    <a:lnTo>
                      <a:pt x="2792" y="702"/>
                    </a:lnTo>
                    <a:lnTo>
                      <a:pt x="2798" y="787"/>
                    </a:lnTo>
                    <a:lnTo>
                      <a:pt x="2801" y="830"/>
                    </a:lnTo>
                    <a:lnTo>
                      <a:pt x="2803" y="872"/>
                    </a:lnTo>
                    <a:lnTo>
                      <a:pt x="2804" y="913"/>
                    </a:lnTo>
                    <a:lnTo>
                      <a:pt x="2805" y="954"/>
                    </a:lnTo>
                    <a:lnTo>
                      <a:pt x="2804" y="995"/>
                    </a:lnTo>
                    <a:lnTo>
                      <a:pt x="2804" y="1035"/>
                    </a:lnTo>
                    <a:lnTo>
                      <a:pt x="2802" y="1073"/>
                    </a:lnTo>
                    <a:lnTo>
                      <a:pt x="2800" y="1110"/>
                    </a:lnTo>
                    <a:lnTo>
                      <a:pt x="2797" y="1147"/>
                    </a:lnTo>
                    <a:lnTo>
                      <a:pt x="2793" y="1181"/>
                    </a:lnTo>
                    <a:lnTo>
                      <a:pt x="2788" y="1215"/>
                    </a:lnTo>
                    <a:lnTo>
                      <a:pt x="2782" y="1247"/>
                    </a:lnTo>
                    <a:lnTo>
                      <a:pt x="2768" y="1316"/>
                    </a:lnTo>
                    <a:lnTo>
                      <a:pt x="2754" y="1388"/>
                    </a:lnTo>
                    <a:lnTo>
                      <a:pt x="2741" y="1461"/>
                    </a:lnTo>
                    <a:lnTo>
                      <a:pt x="2729" y="1535"/>
                    </a:lnTo>
                    <a:lnTo>
                      <a:pt x="2704" y="1687"/>
                    </a:lnTo>
                    <a:lnTo>
                      <a:pt x="2680" y="1845"/>
                    </a:lnTo>
                    <a:lnTo>
                      <a:pt x="2656" y="2006"/>
                    </a:lnTo>
                    <a:lnTo>
                      <a:pt x="2631" y="2168"/>
                    </a:lnTo>
                    <a:lnTo>
                      <a:pt x="2605" y="2334"/>
                    </a:lnTo>
                    <a:lnTo>
                      <a:pt x="2577" y="2498"/>
                    </a:lnTo>
                    <a:lnTo>
                      <a:pt x="2562" y="2581"/>
                    </a:lnTo>
                    <a:lnTo>
                      <a:pt x="2546" y="2663"/>
                    </a:lnTo>
                    <a:lnTo>
                      <a:pt x="2530" y="2744"/>
                    </a:lnTo>
                    <a:lnTo>
                      <a:pt x="2512" y="2824"/>
                    </a:lnTo>
                    <a:lnTo>
                      <a:pt x="2494" y="2904"/>
                    </a:lnTo>
                    <a:lnTo>
                      <a:pt x="2475" y="2984"/>
                    </a:lnTo>
                    <a:lnTo>
                      <a:pt x="2455" y="3062"/>
                    </a:lnTo>
                    <a:lnTo>
                      <a:pt x="2434" y="3139"/>
                    </a:lnTo>
                    <a:lnTo>
                      <a:pt x="2412" y="3214"/>
                    </a:lnTo>
                    <a:lnTo>
                      <a:pt x="2389" y="3289"/>
                    </a:lnTo>
                    <a:lnTo>
                      <a:pt x="2364" y="3361"/>
                    </a:lnTo>
                    <a:lnTo>
                      <a:pt x="2338" y="3433"/>
                    </a:lnTo>
                    <a:lnTo>
                      <a:pt x="2311" y="3502"/>
                    </a:lnTo>
                    <a:lnTo>
                      <a:pt x="2282" y="3569"/>
                    </a:lnTo>
                    <a:lnTo>
                      <a:pt x="2251" y="3634"/>
                    </a:lnTo>
                    <a:lnTo>
                      <a:pt x="2219" y="3697"/>
                    </a:lnTo>
                    <a:lnTo>
                      <a:pt x="2151" y="3825"/>
                    </a:lnTo>
                    <a:lnTo>
                      <a:pt x="2091" y="3938"/>
                    </a:lnTo>
                    <a:lnTo>
                      <a:pt x="2037" y="4042"/>
                    </a:lnTo>
                    <a:lnTo>
                      <a:pt x="1991" y="4136"/>
                    </a:lnTo>
                    <a:lnTo>
                      <a:pt x="1969" y="4182"/>
                    </a:lnTo>
                    <a:lnTo>
                      <a:pt x="1950" y="4226"/>
                    </a:lnTo>
                    <a:lnTo>
                      <a:pt x="1931" y="4268"/>
                    </a:lnTo>
                    <a:lnTo>
                      <a:pt x="1915" y="4310"/>
                    </a:lnTo>
                    <a:lnTo>
                      <a:pt x="1899" y="4351"/>
                    </a:lnTo>
                    <a:lnTo>
                      <a:pt x="1883" y="4392"/>
                    </a:lnTo>
                    <a:lnTo>
                      <a:pt x="1870" y="4433"/>
                    </a:lnTo>
                    <a:lnTo>
                      <a:pt x="1858" y="4474"/>
                    </a:lnTo>
                    <a:lnTo>
                      <a:pt x="1847" y="4516"/>
                    </a:lnTo>
                    <a:lnTo>
                      <a:pt x="1836" y="4558"/>
                    </a:lnTo>
                    <a:lnTo>
                      <a:pt x="1827" y="4603"/>
                    </a:lnTo>
                    <a:lnTo>
                      <a:pt x="1819" y="4647"/>
                    </a:lnTo>
                    <a:lnTo>
                      <a:pt x="1811" y="4694"/>
                    </a:lnTo>
                    <a:lnTo>
                      <a:pt x="1804" y="4742"/>
                    </a:lnTo>
                    <a:lnTo>
                      <a:pt x="1798" y="4792"/>
                    </a:lnTo>
                    <a:lnTo>
                      <a:pt x="1793" y="4845"/>
                    </a:lnTo>
                    <a:lnTo>
                      <a:pt x="1788" y="4900"/>
                    </a:lnTo>
                    <a:lnTo>
                      <a:pt x="1783" y="4959"/>
                    </a:lnTo>
                    <a:lnTo>
                      <a:pt x="1779" y="5021"/>
                    </a:lnTo>
                    <a:lnTo>
                      <a:pt x="1775" y="5086"/>
                    </a:lnTo>
                    <a:lnTo>
                      <a:pt x="1769" y="5227"/>
                    </a:lnTo>
                    <a:lnTo>
                      <a:pt x="1764" y="5386"/>
                    </a:lnTo>
                    <a:lnTo>
                      <a:pt x="1495" y="9963"/>
                    </a:lnTo>
                    <a:lnTo>
                      <a:pt x="1197" y="9963"/>
                    </a:lnTo>
                    <a:lnTo>
                      <a:pt x="1188" y="9594"/>
                    </a:lnTo>
                    <a:lnTo>
                      <a:pt x="1181" y="9257"/>
                    </a:lnTo>
                    <a:lnTo>
                      <a:pt x="1176" y="8946"/>
                    </a:lnTo>
                    <a:lnTo>
                      <a:pt x="1172" y="8660"/>
                    </a:lnTo>
                    <a:lnTo>
                      <a:pt x="1169" y="8390"/>
                    </a:lnTo>
                    <a:lnTo>
                      <a:pt x="1167" y="8134"/>
                    </a:lnTo>
                    <a:lnTo>
                      <a:pt x="1165" y="7888"/>
                    </a:lnTo>
                    <a:lnTo>
                      <a:pt x="1163" y="7645"/>
                    </a:lnTo>
                    <a:lnTo>
                      <a:pt x="1162" y="7403"/>
                    </a:lnTo>
                    <a:lnTo>
                      <a:pt x="1160" y="7156"/>
                    </a:lnTo>
                    <a:lnTo>
                      <a:pt x="1158" y="6900"/>
                    </a:lnTo>
                    <a:lnTo>
                      <a:pt x="1154" y="6631"/>
                    </a:lnTo>
                    <a:lnTo>
                      <a:pt x="1150" y="6344"/>
                    </a:lnTo>
                    <a:lnTo>
                      <a:pt x="1145" y="6033"/>
                    </a:lnTo>
                    <a:lnTo>
                      <a:pt x="1138" y="5696"/>
                    </a:lnTo>
                    <a:lnTo>
                      <a:pt x="1130" y="5327"/>
                    </a:lnTo>
                    <a:lnTo>
                      <a:pt x="1127" y="5178"/>
                    </a:lnTo>
                    <a:lnTo>
                      <a:pt x="1126" y="5053"/>
                    </a:lnTo>
                    <a:lnTo>
                      <a:pt x="1125" y="4948"/>
                    </a:lnTo>
                    <a:lnTo>
                      <a:pt x="1125" y="4862"/>
                    </a:lnTo>
                    <a:lnTo>
                      <a:pt x="1125" y="4824"/>
                    </a:lnTo>
                    <a:lnTo>
                      <a:pt x="1124" y="4790"/>
                    </a:lnTo>
                    <a:lnTo>
                      <a:pt x="1122" y="4759"/>
                    </a:lnTo>
                    <a:lnTo>
                      <a:pt x="1120" y="4731"/>
                    </a:lnTo>
                    <a:lnTo>
                      <a:pt x="1118" y="4705"/>
                    </a:lnTo>
                    <a:lnTo>
                      <a:pt x="1114" y="4680"/>
                    </a:lnTo>
                    <a:lnTo>
                      <a:pt x="1110" y="4657"/>
                    </a:lnTo>
                    <a:lnTo>
                      <a:pt x="1104" y="4635"/>
                    </a:lnTo>
                    <a:lnTo>
                      <a:pt x="1098" y="4614"/>
                    </a:lnTo>
                    <a:lnTo>
                      <a:pt x="1090" y="4593"/>
                    </a:lnTo>
                    <a:lnTo>
                      <a:pt x="1080" y="4571"/>
                    </a:lnTo>
                    <a:lnTo>
                      <a:pt x="1070" y="4550"/>
                    </a:lnTo>
                    <a:lnTo>
                      <a:pt x="1057" y="4527"/>
                    </a:lnTo>
                    <a:lnTo>
                      <a:pt x="1043" y="4504"/>
                    </a:lnTo>
                    <a:lnTo>
                      <a:pt x="1027" y="4479"/>
                    </a:lnTo>
                    <a:lnTo>
                      <a:pt x="1009" y="4452"/>
                    </a:lnTo>
                    <a:lnTo>
                      <a:pt x="965" y="4390"/>
                    </a:lnTo>
                    <a:lnTo>
                      <a:pt x="914" y="4316"/>
                    </a:lnTo>
                    <a:lnTo>
                      <a:pt x="852" y="4226"/>
                    </a:lnTo>
                    <a:lnTo>
                      <a:pt x="779" y="4117"/>
                    </a:lnTo>
                    <a:lnTo>
                      <a:pt x="737" y="4051"/>
                    </a:lnTo>
                    <a:lnTo>
                      <a:pt x="696" y="3982"/>
                    </a:lnTo>
                    <a:lnTo>
                      <a:pt x="658" y="3909"/>
                    </a:lnTo>
                    <a:lnTo>
                      <a:pt x="621" y="3835"/>
                    </a:lnTo>
                    <a:lnTo>
                      <a:pt x="586" y="3756"/>
                    </a:lnTo>
                    <a:lnTo>
                      <a:pt x="553" y="3677"/>
                    </a:lnTo>
                    <a:lnTo>
                      <a:pt x="521" y="3595"/>
                    </a:lnTo>
                    <a:lnTo>
                      <a:pt x="491" y="3511"/>
                    </a:lnTo>
                    <a:lnTo>
                      <a:pt x="462" y="3425"/>
                    </a:lnTo>
                    <a:lnTo>
                      <a:pt x="435" y="3337"/>
                    </a:lnTo>
                    <a:lnTo>
                      <a:pt x="409" y="3248"/>
                    </a:lnTo>
                    <a:lnTo>
                      <a:pt x="384" y="3158"/>
                    </a:lnTo>
                    <a:lnTo>
                      <a:pt x="359" y="3067"/>
                    </a:lnTo>
                    <a:lnTo>
                      <a:pt x="335" y="2974"/>
                    </a:lnTo>
                    <a:lnTo>
                      <a:pt x="313" y="2882"/>
                    </a:lnTo>
                    <a:lnTo>
                      <a:pt x="292" y="2788"/>
                    </a:lnTo>
                    <a:lnTo>
                      <a:pt x="272" y="2695"/>
                    </a:lnTo>
                    <a:lnTo>
                      <a:pt x="252" y="2602"/>
                    </a:lnTo>
                    <a:lnTo>
                      <a:pt x="233" y="2507"/>
                    </a:lnTo>
                    <a:lnTo>
                      <a:pt x="214" y="2414"/>
                    </a:lnTo>
                    <a:lnTo>
                      <a:pt x="178" y="2229"/>
                    </a:lnTo>
                    <a:lnTo>
                      <a:pt x="144" y="2046"/>
                    </a:lnTo>
                    <a:lnTo>
                      <a:pt x="110" y="1869"/>
                    </a:lnTo>
                    <a:lnTo>
                      <a:pt x="76" y="1697"/>
                    </a:lnTo>
                    <a:lnTo>
                      <a:pt x="59" y="1614"/>
                    </a:lnTo>
                    <a:lnTo>
                      <a:pt x="42" y="1534"/>
                    </a:lnTo>
                    <a:lnTo>
                      <a:pt x="23" y="1456"/>
                    </a:lnTo>
                    <a:lnTo>
                      <a:pt x="5" y="1380"/>
                    </a:lnTo>
                    <a:lnTo>
                      <a:pt x="4" y="1368"/>
                    </a:lnTo>
                    <a:lnTo>
                      <a:pt x="3" y="1352"/>
                    </a:lnTo>
                    <a:lnTo>
                      <a:pt x="2" y="1331"/>
                    </a:lnTo>
                    <a:lnTo>
                      <a:pt x="1" y="1306"/>
                    </a:lnTo>
                    <a:lnTo>
                      <a:pt x="0" y="1248"/>
                    </a:lnTo>
                    <a:lnTo>
                      <a:pt x="1" y="1183"/>
                    </a:lnTo>
                    <a:lnTo>
                      <a:pt x="1" y="1118"/>
                    </a:lnTo>
                    <a:lnTo>
                      <a:pt x="2" y="1060"/>
                    </a:lnTo>
                    <a:lnTo>
                      <a:pt x="3" y="1014"/>
                    </a:lnTo>
                    <a:lnTo>
                      <a:pt x="3" y="986"/>
                    </a:lnTo>
                    <a:lnTo>
                      <a:pt x="4" y="921"/>
                    </a:lnTo>
                    <a:lnTo>
                      <a:pt x="4" y="858"/>
                    </a:lnTo>
                    <a:lnTo>
                      <a:pt x="5" y="794"/>
                    </a:lnTo>
                    <a:lnTo>
                      <a:pt x="7" y="731"/>
                    </a:lnTo>
                    <a:lnTo>
                      <a:pt x="9" y="669"/>
                    </a:lnTo>
                    <a:lnTo>
                      <a:pt x="12" y="606"/>
                    </a:lnTo>
                    <a:lnTo>
                      <a:pt x="15" y="543"/>
                    </a:lnTo>
                    <a:lnTo>
                      <a:pt x="18" y="481"/>
                    </a:lnTo>
                    <a:lnTo>
                      <a:pt x="22" y="420"/>
                    </a:lnTo>
                    <a:lnTo>
                      <a:pt x="27" y="359"/>
                    </a:lnTo>
                    <a:lnTo>
                      <a:pt x="32" y="298"/>
                    </a:lnTo>
                    <a:lnTo>
                      <a:pt x="38" y="238"/>
                    </a:lnTo>
                    <a:lnTo>
                      <a:pt x="43" y="178"/>
                    </a:lnTo>
                    <a:lnTo>
                      <a:pt x="50" y="118"/>
                    </a:lnTo>
                    <a:lnTo>
                      <a:pt x="56" y="59"/>
                    </a:lnTo>
                    <a:lnTo>
                      <a:pt x="63" y="0"/>
                    </a:lnTo>
                    <a:lnTo>
                      <a:pt x="307" y="0"/>
                    </a:lnTo>
                    <a:lnTo>
                      <a:pt x="301" y="47"/>
                    </a:lnTo>
                    <a:lnTo>
                      <a:pt x="297" y="94"/>
                    </a:lnTo>
                    <a:lnTo>
                      <a:pt x="292" y="142"/>
                    </a:lnTo>
                    <a:lnTo>
                      <a:pt x="288" y="191"/>
                    </a:lnTo>
                    <a:lnTo>
                      <a:pt x="284" y="239"/>
                    </a:lnTo>
                    <a:lnTo>
                      <a:pt x="281" y="288"/>
                    </a:lnTo>
                    <a:lnTo>
                      <a:pt x="277" y="337"/>
                    </a:lnTo>
                    <a:lnTo>
                      <a:pt x="274" y="386"/>
                    </a:lnTo>
                    <a:lnTo>
                      <a:pt x="272" y="435"/>
                    </a:lnTo>
                    <a:lnTo>
                      <a:pt x="270" y="485"/>
                    </a:lnTo>
                    <a:lnTo>
                      <a:pt x="268" y="535"/>
                    </a:lnTo>
                    <a:lnTo>
                      <a:pt x="266" y="586"/>
                    </a:lnTo>
                    <a:lnTo>
                      <a:pt x="265" y="636"/>
                    </a:lnTo>
                    <a:lnTo>
                      <a:pt x="264" y="687"/>
                    </a:lnTo>
                    <a:lnTo>
                      <a:pt x="264" y="738"/>
                    </a:lnTo>
                    <a:lnTo>
                      <a:pt x="263" y="789"/>
                    </a:lnTo>
                    <a:lnTo>
                      <a:pt x="264" y="857"/>
                    </a:lnTo>
                    <a:lnTo>
                      <a:pt x="265" y="925"/>
                    </a:lnTo>
                    <a:lnTo>
                      <a:pt x="268" y="993"/>
                    </a:lnTo>
                    <a:lnTo>
                      <a:pt x="271" y="1058"/>
                    </a:lnTo>
                    <a:lnTo>
                      <a:pt x="275" y="1123"/>
                    </a:lnTo>
                    <a:lnTo>
                      <a:pt x="280" y="1186"/>
                    </a:lnTo>
                    <a:lnTo>
                      <a:pt x="286" y="1249"/>
                    </a:lnTo>
                    <a:lnTo>
                      <a:pt x="292" y="1311"/>
                    </a:lnTo>
                    <a:lnTo>
                      <a:pt x="300" y="1371"/>
                    </a:lnTo>
                    <a:lnTo>
                      <a:pt x="308" y="1432"/>
                    </a:lnTo>
                    <a:lnTo>
                      <a:pt x="316" y="1492"/>
                    </a:lnTo>
                    <a:lnTo>
                      <a:pt x="326" y="1550"/>
                    </a:lnTo>
                    <a:lnTo>
                      <a:pt x="336" y="1607"/>
                    </a:lnTo>
                    <a:lnTo>
                      <a:pt x="348" y="1664"/>
                    </a:lnTo>
                    <a:lnTo>
                      <a:pt x="359" y="1720"/>
                    </a:lnTo>
                    <a:lnTo>
                      <a:pt x="371" y="1777"/>
                    </a:lnTo>
                    <a:lnTo>
                      <a:pt x="383" y="1831"/>
                    </a:lnTo>
                    <a:lnTo>
                      <a:pt x="396" y="1885"/>
                    </a:lnTo>
                    <a:lnTo>
                      <a:pt x="409" y="1939"/>
                    </a:lnTo>
                    <a:lnTo>
                      <a:pt x="423" y="1992"/>
                    </a:lnTo>
                    <a:lnTo>
                      <a:pt x="451" y="2096"/>
                    </a:lnTo>
                    <a:lnTo>
                      <a:pt x="482" y="2198"/>
                    </a:lnTo>
                    <a:lnTo>
                      <a:pt x="513" y="2298"/>
                    </a:lnTo>
                    <a:lnTo>
                      <a:pt x="545" y="2397"/>
                    </a:lnTo>
                    <a:lnTo>
                      <a:pt x="578" y="2493"/>
                    </a:lnTo>
                    <a:lnTo>
                      <a:pt x="612" y="2590"/>
                    </a:lnTo>
                    <a:lnTo>
                      <a:pt x="651" y="2696"/>
                    </a:lnTo>
                    <a:lnTo>
                      <a:pt x="691" y="2800"/>
                    </a:lnTo>
                    <a:lnTo>
                      <a:pt x="711" y="2851"/>
                    </a:lnTo>
                    <a:lnTo>
                      <a:pt x="732" y="2900"/>
                    </a:lnTo>
                    <a:lnTo>
                      <a:pt x="752" y="2949"/>
                    </a:lnTo>
                    <a:lnTo>
                      <a:pt x="773" y="2998"/>
                    </a:lnTo>
                    <a:lnTo>
                      <a:pt x="795" y="3045"/>
                    </a:lnTo>
                    <a:lnTo>
                      <a:pt x="816" y="3090"/>
                    </a:lnTo>
                    <a:lnTo>
                      <a:pt x="838" y="3134"/>
                    </a:lnTo>
                    <a:lnTo>
                      <a:pt x="860" y="3177"/>
                    </a:lnTo>
                    <a:lnTo>
                      <a:pt x="882" y="3219"/>
                    </a:lnTo>
                    <a:lnTo>
                      <a:pt x="905" y="3259"/>
                    </a:lnTo>
                    <a:lnTo>
                      <a:pt x="928" y="3297"/>
                    </a:lnTo>
                    <a:lnTo>
                      <a:pt x="952" y="3334"/>
                    </a:lnTo>
                    <a:lnTo>
                      <a:pt x="977" y="3369"/>
                    </a:lnTo>
                    <a:lnTo>
                      <a:pt x="1001" y="3404"/>
                    </a:lnTo>
                    <a:lnTo>
                      <a:pt x="1025" y="3435"/>
                    </a:lnTo>
                    <a:lnTo>
                      <a:pt x="1050" y="3465"/>
                    </a:lnTo>
                    <a:lnTo>
                      <a:pt x="1076" y="3493"/>
                    </a:lnTo>
                    <a:lnTo>
                      <a:pt x="1101" y="3518"/>
                    </a:lnTo>
                    <a:lnTo>
                      <a:pt x="1128" y="3542"/>
                    </a:lnTo>
                    <a:lnTo>
                      <a:pt x="1154" y="3563"/>
                    </a:lnTo>
                    <a:lnTo>
                      <a:pt x="1181" y="3583"/>
                    </a:lnTo>
                    <a:lnTo>
                      <a:pt x="1209" y="3599"/>
                    </a:lnTo>
                    <a:lnTo>
                      <a:pt x="1237" y="3614"/>
                    </a:lnTo>
                    <a:lnTo>
                      <a:pt x="1265" y="3626"/>
                    </a:lnTo>
                    <a:lnTo>
                      <a:pt x="1295" y="3635"/>
                    </a:lnTo>
                    <a:lnTo>
                      <a:pt x="1325" y="3642"/>
                    </a:lnTo>
                    <a:lnTo>
                      <a:pt x="1355" y="3646"/>
                    </a:lnTo>
                    <a:lnTo>
                      <a:pt x="1385" y="3648"/>
                    </a:lnTo>
                    <a:lnTo>
                      <a:pt x="1414" y="3647"/>
                    </a:lnTo>
                    <a:lnTo>
                      <a:pt x="1442" y="3644"/>
                    </a:lnTo>
                    <a:lnTo>
                      <a:pt x="1469" y="3640"/>
                    </a:lnTo>
                    <a:lnTo>
                      <a:pt x="1496" y="3634"/>
                    </a:lnTo>
                    <a:lnTo>
                      <a:pt x="1522" y="3626"/>
                    </a:lnTo>
                    <a:lnTo>
                      <a:pt x="1547" y="3617"/>
                    </a:lnTo>
                    <a:lnTo>
                      <a:pt x="1572" y="3606"/>
                    </a:lnTo>
                    <a:lnTo>
                      <a:pt x="1598" y="3593"/>
                    </a:lnTo>
                    <a:lnTo>
                      <a:pt x="1622" y="3579"/>
                    </a:lnTo>
                    <a:lnTo>
                      <a:pt x="1645" y="3563"/>
                    </a:lnTo>
                    <a:lnTo>
                      <a:pt x="1668" y="3546"/>
                    </a:lnTo>
                    <a:lnTo>
                      <a:pt x="1691" y="3527"/>
                    </a:lnTo>
                    <a:lnTo>
                      <a:pt x="1713" y="3506"/>
                    </a:lnTo>
                    <a:lnTo>
                      <a:pt x="1735" y="3484"/>
                    </a:lnTo>
                    <a:lnTo>
                      <a:pt x="1756" y="3461"/>
                    </a:lnTo>
                    <a:lnTo>
                      <a:pt x="1778" y="3435"/>
                    </a:lnTo>
                    <a:lnTo>
                      <a:pt x="1798" y="3409"/>
                    </a:lnTo>
                    <a:lnTo>
                      <a:pt x="1819" y="3381"/>
                    </a:lnTo>
                    <a:lnTo>
                      <a:pt x="1839" y="3350"/>
                    </a:lnTo>
                    <a:lnTo>
                      <a:pt x="1859" y="3319"/>
                    </a:lnTo>
                    <a:lnTo>
                      <a:pt x="1879" y="3286"/>
                    </a:lnTo>
                    <a:lnTo>
                      <a:pt x="1900" y="3252"/>
                    </a:lnTo>
                    <a:lnTo>
                      <a:pt x="1919" y="3217"/>
                    </a:lnTo>
                    <a:lnTo>
                      <a:pt x="1939" y="3180"/>
                    </a:lnTo>
                    <a:lnTo>
                      <a:pt x="1958" y="3141"/>
                    </a:lnTo>
                    <a:lnTo>
                      <a:pt x="1977" y="3102"/>
                    </a:lnTo>
                    <a:lnTo>
                      <a:pt x="1996" y="3060"/>
                    </a:lnTo>
                    <a:lnTo>
                      <a:pt x="2015" y="3018"/>
                    </a:lnTo>
                    <a:lnTo>
                      <a:pt x="2053" y="2928"/>
                    </a:lnTo>
                    <a:lnTo>
                      <a:pt x="2090" y="2834"/>
                    </a:lnTo>
                    <a:lnTo>
                      <a:pt x="2128" y="2735"/>
                    </a:lnTo>
                    <a:lnTo>
                      <a:pt x="2166" y="2630"/>
                    </a:lnTo>
                    <a:lnTo>
                      <a:pt x="2185" y="2577"/>
                    </a:lnTo>
                    <a:lnTo>
                      <a:pt x="2204" y="2521"/>
                    </a:lnTo>
                    <a:lnTo>
                      <a:pt x="2223" y="2464"/>
                    </a:lnTo>
                    <a:lnTo>
                      <a:pt x="2241" y="2407"/>
                    </a:lnTo>
                    <a:lnTo>
                      <a:pt x="2259" y="2349"/>
                    </a:lnTo>
                    <a:lnTo>
                      <a:pt x="2277" y="2290"/>
                    </a:lnTo>
                    <a:lnTo>
                      <a:pt x="2294" y="2229"/>
                    </a:lnTo>
                    <a:lnTo>
                      <a:pt x="2311" y="2167"/>
                    </a:lnTo>
                    <a:lnTo>
                      <a:pt x="2328" y="2105"/>
                    </a:lnTo>
                    <a:lnTo>
                      <a:pt x="2344" y="2042"/>
                    </a:lnTo>
                    <a:lnTo>
                      <a:pt x="2359" y="1978"/>
                    </a:lnTo>
                    <a:lnTo>
                      <a:pt x="2374" y="1914"/>
                    </a:lnTo>
                    <a:lnTo>
                      <a:pt x="2389" y="1848"/>
                    </a:lnTo>
                    <a:lnTo>
                      <a:pt x="2402" y="1782"/>
                    </a:lnTo>
                    <a:lnTo>
                      <a:pt x="2416" y="1714"/>
                    </a:lnTo>
                    <a:lnTo>
                      <a:pt x="2428" y="1646"/>
                    </a:lnTo>
                    <a:lnTo>
                      <a:pt x="2439" y="1578"/>
                    </a:lnTo>
                    <a:lnTo>
                      <a:pt x="2450" y="1509"/>
                    </a:lnTo>
                    <a:lnTo>
                      <a:pt x="2460" y="1439"/>
                    </a:lnTo>
                    <a:lnTo>
                      <a:pt x="2469" y="1368"/>
                    </a:lnTo>
                    <a:lnTo>
                      <a:pt x="2478" y="1297"/>
                    </a:lnTo>
                    <a:lnTo>
                      <a:pt x="2485" y="1226"/>
                    </a:lnTo>
                    <a:lnTo>
                      <a:pt x="2491" y="1154"/>
                    </a:lnTo>
                    <a:lnTo>
                      <a:pt x="2496" y="1082"/>
                    </a:lnTo>
                    <a:lnTo>
                      <a:pt x="2500" y="1010"/>
                    </a:lnTo>
                    <a:lnTo>
                      <a:pt x="2503" y="936"/>
                    </a:lnTo>
                    <a:lnTo>
                      <a:pt x="2505" y="862"/>
                    </a:lnTo>
                    <a:lnTo>
                      <a:pt x="2506" y="789"/>
                    </a:lnTo>
                    <a:lnTo>
                      <a:pt x="2505" y="738"/>
                    </a:lnTo>
                    <a:lnTo>
                      <a:pt x="2505" y="687"/>
                    </a:lnTo>
                    <a:lnTo>
                      <a:pt x="2504" y="636"/>
                    </a:lnTo>
                    <a:lnTo>
                      <a:pt x="2503" y="586"/>
                    </a:lnTo>
                    <a:lnTo>
                      <a:pt x="2501" y="535"/>
                    </a:lnTo>
                    <a:lnTo>
                      <a:pt x="2499" y="485"/>
                    </a:lnTo>
                    <a:lnTo>
                      <a:pt x="2497" y="435"/>
                    </a:lnTo>
                    <a:lnTo>
                      <a:pt x="2495" y="386"/>
                    </a:lnTo>
                    <a:lnTo>
                      <a:pt x="2492" y="337"/>
                    </a:lnTo>
                    <a:lnTo>
                      <a:pt x="2489" y="288"/>
                    </a:lnTo>
                    <a:lnTo>
                      <a:pt x="2485" y="239"/>
                    </a:lnTo>
                    <a:lnTo>
                      <a:pt x="2481" y="191"/>
                    </a:lnTo>
                    <a:lnTo>
                      <a:pt x="2477" y="142"/>
                    </a:lnTo>
                    <a:lnTo>
                      <a:pt x="2472" y="94"/>
                    </a:lnTo>
                    <a:lnTo>
                      <a:pt x="2468" y="47"/>
                    </a:lnTo>
                    <a:lnTo>
                      <a:pt x="2463" y="0"/>
                    </a:lnTo>
                    <a:lnTo>
                      <a:pt x="2707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1" name="Freeform 13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solidFill>
                <a:srgbClr val="AA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2" name="Freeform 14"/>
              <p:cNvSpPr>
                <a:spLocks/>
              </p:cNvSpPr>
              <p:nvPr/>
            </p:nvSpPr>
            <p:spPr bwMode="auto">
              <a:xfrm>
                <a:off x="1246188" y="5441950"/>
                <a:ext cx="244475" cy="69850"/>
              </a:xfrm>
              <a:custGeom>
                <a:avLst/>
                <a:gdLst>
                  <a:gd name="T0" fmla="*/ 2147483647 w 3080"/>
                  <a:gd name="T1" fmla="*/ 2147483647 h 896"/>
                  <a:gd name="T2" fmla="*/ 2147483647 w 3080"/>
                  <a:gd name="T3" fmla="*/ 2147483647 h 896"/>
                  <a:gd name="T4" fmla="*/ 2147483647 w 3080"/>
                  <a:gd name="T5" fmla="*/ 2147483647 h 896"/>
                  <a:gd name="T6" fmla="*/ 2147483647 w 3080"/>
                  <a:gd name="T7" fmla="*/ 2147483647 h 896"/>
                  <a:gd name="T8" fmla="*/ 2147483647 w 3080"/>
                  <a:gd name="T9" fmla="*/ 2147483647 h 896"/>
                  <a:gd name="T10" fmla="*/ 2147483647 w 3080"/>
                  <a:gd name="T11" fmla="*/ 2147483647 h 896"/>
                  <a:gd name="T12" fmla="*/ 2147483647 w 3080"/>
                  <a:gd name="T13" fmla="*/ 2147483647 h 896"/>
                  <a:gd name="T14" fmla="*/ 2147483647 w 3080"/>
                  <a:gd name="T15" fmla="*/ 2147483647 h 896"/>
                  <a:gd name="T16" fmla="*/ 2147483647 w 3080"/>
                  <a:gd name="T17" fmla="*/ 2147483647 h 896"/>
                  <a:gd name="T18" fmla="*/ 2147483647 w 3080"/>
                  <a:gd name="T19" fmla="*/ 2147483647 h 896"/>
                  <a:gd name="T20" fmla="*/ 2147483647 w 3080"/>
                  <a:gd name="T21" fmla="*/ 2147483647 h 896"/>
                  <a:gd name="T22" fmla="*/ 2147483647 w 3080"/>
                  <a:gd name="T23" fmla="*/ 2147483647 h 896"/>
                  <a:gd name="T24" fmla="*/ 2147483647 w 3080"/>
                  <a:gd name="T25" fmla="*/ 2147483647 h 896"/>
                  <a:gd name="T26" fmla="*/ 2147483647 w 3080"/>
                  <a:gd name="T27" fmla="*/ 2147483647 h 896"/>
                  <a:gd name="T28" fmla="*/ 2147483647 w 3080"/>
                  <a:gd name="T29" fmla="*/ 2147483647 h 896"/>
                  <a:gd name="T30" fmla="*/ 2147483647 w 3080"/>
                  <a:gd name="T31" fmla="*/ 2147483647 h 896"/>
                  <a:gd name="T32" fmla="*/ 2147483647 w 3080"/>
                  <a:gd name="T33" fmla="*/ 2147483647 h 896"/>
                  <a:gd name="T34" fmla="*/ 2147483647 w 3080"/>
                  <a:gd name="T35" fmla="*/ 2147483647 h 896"/>
                  <a:gd name="T36" fmla="*/ 2147483647 w 3080"/>
                  <a:gd name="T37" fmla="*/ 2147483647 h 896"/>
                  <a:gd name="T38" fmla="*/ 2147483647 w 3080"/>
                  <a:gd name="T39" fmla="*/ 2147483647 h 896"/>
                  <a:gd name="T40" fmla="*/ 2147483647 w 3080"/>
                  <a:gd name="T41" fmla="*/ 2147483647 h 896"/>
                  <a:gd name="T42" fmla="*/ 2147483647 w 3080"/>
                  <a:gd name="T43" fmla="*/ 2147483647 h 896"/>
                  <a:gd name="T44" fmla="*/ 2147483647 w 3080"/>
                  <a:gd name="T45" fmla="*/ 2147483647 h 896"/>
                  <a:gd name="T46" fmla="*/ 2147483647 w 3080"/>
                  <a:gd name="T47" fmla="*/ 2147483647 h 896"/>
                  <a:gd name="T48" fmla="*/ 2147483647 w 3080"/>
                  <a:gd name="T49" fmla="*/ 2147483647 h 896"/>
                  <a:gd name="T50" fmla="*/ 2147483647 w 3080"/>
                  <a:gd name="T51" fmla="*/ 2147483647 h 896"/>
                  <a:gd name="T52" fmla="*/ 2147483647 w 3080"/>
                  <a:gd name="T53" fmla="*/ 2147483647 h 896"/>
                  <a:gd name="T54" fmla="*/ 2147483647 w 3080"/>
                  <a:gd name="T55" fmla="*/ 2147483647 h 896"/>
                  <a:gd name="T56" fmla="*/ 2147483647 w 3080"/>
                  <a:gd name="T57" fmla="*/ 2147483647 h 896"/>
                  <a:gd name="T58" fmla="*/ 2147483647 w 3080"/>
                  <a:gd name="T59" fmla="*/ 2147483647 h 896"/>
                  <a:gd name="T60" fmla="*/ 2147483647 w 3080"/>
                  <a:gd name="T61" fmla="*/ 2147483647 h 896"/>
                  <a:gd name="T62" fmla="*/ 2147483647 w 3080"/>
                  <a:gd name="T63" fmla="*/ 2147483647 h 896"/>
                  <a:gd name="T64" fmla="*/ 2147483647 w 3080"/>
                  <a:gd name="T65" fmla="*/ 2147483647 h 896"/>
                  <a:gd name="T66" fmla="*/ 2147483647 w 3080"/>
                  <a:gd name="T67" fmla="*/ 2147483647 h 896"/>
                  <a:gd name="T68" fmla="*/ 2147483647 w 3080"/>
                  <a:gd name="T69" fmla="*/ 2147483647 h 896"/>
                  <a:gd name="T70" fmla="*/ 2147483647 w 3080"/>
                  <a:gd name="T71" fmla="*/ 2147483647 h 896"/>
                  <a:gd name="T72" fmla="*/ 2147483647 w 3080"/>
                  <a:gd name="T73" fmla="*/ 2147483647 h 896"/>
                  <a:gd name="T74" fmla="*/ 2147483647 w 3080"/>
                  <a:gd name="T75" fmla="*/ 2147483647 h 896"/>
                  <a:gd name="T76" fmla="*/ 2147483647 w 3080"/>
                  <a:gd name="T77" fmla="*/ 2147483647 h 896"/>
                  <a:gd name="T78" fmla="*/ 2147483647 w 3080"/>
                  <a:gd name="T79" fmla="*/ 2147483647 h 896"/>
                  <a:gd name="T80" fmla="*/ 2147483647 w 3080"/>
                  <a:gd name="T81" fmla="*/ 2147483647 h 896"/>
                  <a:gd name="T82" fmla="*/ 2147483647 w 3080"/>
                  <a:gd name="T83" fmla="*/ 2147483647 h 896"/>
                  <a:gd name="T84" fmla="*/ 2147483647 w 3080"/>
                  <a:gd name="T85" fmla="*/ 2147483647 h 896"/>
                  <a:gd name="T86" fmla="*/ 2147483647 w 3080"/>
                  <a:gd name="T87" fmla="*/ 2147483647 h 896"/>
                  <a:gd name="T88" fmla="*/ 2147483647 w 3080"/>
                  <a:gd name="T89" fmla="*/ 2147483647 h 896"/>
                  <a:gd name="T90" fmla="*/ 2147483647 w 3080"/>
                  <a:gd name="T91" fmla="*/ 2147483647 h 896"/>
                  <a:gd name="T92" fmla="*/ 2147483647 w 3080"/>
                  <a:gd name="T93" fmla="*/ 2147483647 h 896"/>
                  <a:gd name="T94" fmla="*/ 2147483647 w 3080"/>
                  <a:gd name="T95" fmla="*/ 2147483647 h 896"/>
                  <a:gd name="T96" fmla="*/ 2147483647 w 3080"/>
                  <a:gd name="T97" fmla="*/ 2147483647 h 896"/>
                  <a:gd name="T98" fmla="*/ 2147483647 w 3080"/>
                  <a:gd name="T99" fmla="*/ 2147483647 h 896"/>
                  <a:gd name="T100" fmla="*/ 2147483647 w 3080"/>
                  <a:gd name="T101" fmla="*/ 2147483647 h 896"/>
                  <a:gd name="T102" fmla="*/ 0 w 3080"/>
                  <a:gd name="T103" fmla="*/ 2147483647 h 896"/>
                  <a:gd name="T104" fmla="*/ 2147483647 w 3080"/>
                  <a:gd name="T105" fmla="*/ 2147483647 h 896"/>
                  <a:gd name="T106" fmla="*/ 2147483647 w 3080"/>
                  <a:gd name="T107" fmla="*/ 2147483647 h 896"/>
                  <a:gd name="T108" fmla="*/ 2147483647 w 3080"/>
                  <a:gd name="T109" fmla="*/ 2147483647 h 896"/>
                  <a:gd name="T110" fmla="*/ 2147483647 w 3080"/>
                  <a:gd name="T111" fmla="*/ 2147483647 h 896"/>
                  <a:gd name="T112" fmla="*/ 2147483647 w 3080"/>
                  <a:gd name="T113" fmla="*/ 2147483647 h 896"/>
                  <a:gd name="T114" fmla="*/ 2147483647 w 3080"/>
                  <a:gd name="T115" fmla="*/ 2147483647 h 896"/>
                  <a:gd name="T116" fmla="*/ 2147483647 w 3080"/>
                  <a:gd name="T117" fmla="*/ 2147483647 h 896"/>
                  <a:gd name="T118" fmla="*/ 2147483647 w 3080"/>
                  <a:gd name="T119" fmla="*/ 2147483647 h 896"/>
                  <a:gd name="T120" fmla="*/ 2147483647 w 3080"/>
                  <a:gd name="T121" fmla="*/ 2147483647 h 896"/>
                  <a:gd name="T122" fmla="*/ 2147483647 w 3080"/>
                  <a:gd name="T123" fmla="*/ 2147483647 h 896"/>
                  <a:gd name="T124" fmla="*/ 2147483647 w 3080"/>
                  <a:gd name="T125" fmla="*/ 2147483647 h 89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080"/>
                  <a:gd name="T190" fmla="*/ 0 h 896"/>
                  <a:gd name="T191" fmla="*/ 3080 w 3080"/>
                  <a:gd name="T192" fmla="*/ 896 h 89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080" h="896">
                    <a:moveTo>
                      <a:pt x="301" y="2"/>
                    </a:moveTo>
                    <a:lnTo>
                      <a:pt x="378" y="12"/>
                    </a:lnTo>
                    <a:lnTo>
                      <a:pt x="455" y="22"/>
                    </a:lnTo>
                    <a:lnTo>
                      <a:pt x="533" y="31"/>
                    </a:lnTo>
                    <a:lnTo>
                      <a:pt x="610" y="39"/>
                    </a:lnTo>
                    <a:lnTo>
                      <a:pt x="688" y="46"/>
                    </a:lnTo>
                    <a:lnTo>
                      <a:pt x="765" y="53"/>
                    </a:lnTo>
                    <a:lnTo>
                      <a:pt x="843" y="59"/>
                    </a:lnTo>
                    <a:lnTo>
                      <a:pt x="920" y="64"/>
                    </a:lnTo>
                    <a:lnTo>
                      <a:pt x="997" y="69"/>
                    </a:lnTo>
                    <a:lnTo>
                      <a:pt x="1075" y="73"/>
                    </a:lnTo>
                    <a:lnTo>
                      <a:pt x="1153" y="76"/>
                    </a:lnTo>
                    <a:lnTo>
                      <a:pt x="1230" y="79"/>
                    </a:lnTo>
                    <a:lnTo>
                      <a:pt x="1307" y="81"/>
                    </a:lnTo>
                    <a:lnTo>
                      <a:pt x="1385" y="82"/>
                    </a:lnTo>
                    <a:lnTo>
                      <a:pt x="1463" y="83"/>
                    </a:lnTo>
                    <a:lnTo>
                      <a:pt x="1540" y="83"/>
                    </a:lnTo>
                    <a:lnTo>
                      <a:pt x="1617" y="83"/>
                    </a:lnTo>
                    <a:lnTo>
                      <a:pt x="1694" y="82"/>
                    </a:lnTo>
                    <a:lnTo>
                      <a:pt x="1773" y="80"/>
                    </a:lnTo>
                    <a:lnTo>
                      <a:pt x="1850" y="78"/>
                    </a:lnTo>
                    <a:lnTo>
                      <a:pt x="1927" y="75"/>
                    </a:lnTo>
                    <a:lnTo>
                      <a:pt x="2004" y="71"/>
                    </a:lnTo>
                    <a:lnTo>
                      <a:pt x="2082" y="67"/>
                    </a:lnTo>
                    <a:lnTo>
                      <a:pt x="2160" y="62"/>
                    </a:lnTo>
                    <a:lnTo>
                      <a:pt x="2237" y="57"/>
                    </a:lnTo>
                    <a:lnTo>
                      <a:pt x="2314" y="51"/>
                    </a:lnTo>
                    <a:lnTo>
                      <a:pt x="2392" y="44"/>
                    </a:lnTo>
                    <a:lnTo>
                      <a:pt x="2470" y="37"/>
                    </a:lnTo>
                    <a:lnTo>
                      <a:pt x="2547" y="29"/>
                    </a:lnTo>
                    <a:lnTo>
                      <a:pt x="2624" y="21"/>
                    </a:lnTo>
                    <a:lnTo>
                      <a:pt x="2702" y="12"/>
                    </a:lnTo>
                    <a:lnTo>
                      <a:pt x="2779" y="2"/>
                    </a:lnTo>
                    <a:lnTo>
                      <a:pt x="2795" y="1"/>
                    </a:lnTo>
                    <a:lnTo>
                      <a:pt x="2810" y="0"/>
                    </a:lnTo>
                    <a:lnTo>
                      <a:pt x="2825" y="1"/>
                    </a:lnTo>
                    <a:lnTo>
                      <a:pt x="2839" y="2"/>
                    </a:lnTo>
                    <a:lnTo>
                      <a:pt x="2854" y="5"/>
                    </a:lnTo>
                    <a:lnTo>
                      <a:pt x="2868" y="8"/>
                    </a:lnTo>
                    <a:lnTo>
                      <a:pt x="2882" y="12"/>
                    </a:lnTo>
                    <a:lnTo>
                      <a:pt x="2895" y="17"/>
                    </a:lnTo>
                    <a:lnTo>
                      <a:pt x="2908" y="23"/>
                    </a:lnTo>
                    <a:lnTo>
                      <a:pt x="2921" y="29"/>
                    </a:lnTo>
                    <a:lnTo>
                      <a:pt x="2934" y="36"/>
                    </a:lnTo>
                    <a:lnTo>
                      <a:pt x="2946" y="44"/>
                    </a:lnTo>
                    <a:lnTo>
                      <a:pt x="2958" y="53"/>
                    </a:lnTo>
                    <a:lnTo>
                      <a:pt x="2969" y="62"/>
                    </a:lnTo>
                    <a:lnTo>
                      <a:pt x="2981" y="71"/>
                    </a:lnTo>
                    <a:lnTo>
                      <a:pt x="2991" y="82"/>
                    </a:lnTo>
                    <a:lnTo>
                      <a:pt x="3001" y="93"/>
                    </a:lnTo>
                    <a:lnTo>
                      <a:pt x="3011" y="104"/>
                    </a:lnTo>
                    <a:lnTo>
                      <a:pt x="3020" y="116"/>
                    </a:lnTo>
                    <a:lnTo>
                      <a:pt x="3028" y="128"/>
                    </a:lnTo>
                    <a:lnTo>
                      <a:pt x="3036" y="141"/>
                    </a:lnTo>
                    <a:lnTo>
                      <a:pt x="3043" y="154"/>
                    </a:lnTo>
                    <a:lnTo>
                      <a:pt x="3050" y="167"/>
                    </a:lnTo>
                    <a:lnTo>
                      <a:pt x="3056" y="181"/>
                    </a:lnTo>
                    <a:lnTo>
                      <a:pt x="3061" y="195"/>
                    </a:lnTo>
                    <a:lnTo>
                      <a:pt x="3066" y="209"/>
                    </a:lnTo>
                    <a:lnTo>
                      <a:pt x="3070" y="224"/>
                    </a:lnTo>
                    <a:lnTo>
                      <a:pt x="3074" y="239"/>
                    </a:lnTo>
                    <a:lnTo>
                      <a:pt x="3076" y="254"/>
                    </a:lnTo>
                    <a:lnTo>
                      <a:pt x="3078" y="270"/>
                    </a:lnTo>
                    <a:lnTo>
                      <a:pt x="3080" y="285"/>
                    </a:lnTo>
                    <a:lnTo>
                      <a:pt x="3080" y="300"/>
                    </a:lnTo>
                    <a:lnTo>
                      <a:pt x="3080" y="486"/>
                    </a:lnTo>
                    <a:lnTo>
                      <a:pt x="3080" y="501"/>
                    </a:lnTo>
                    <a:lnTo>
                      <a:pt x="3078" y="516"/>
                    </a:lnTo>
                    <a:lnTo>
                      <a:pt x="3076" y="530"/>
                    </a:lnTo>
                    <a:lnTo>
                      <a:pt x="3074" y="544"/>
                    </a:lnTo>
                    <a:lnTo>
                      <a:pt x="3070" y="558"/>
                    </a:lnTo>
                    <a:lnTo>
                      <a:pt x="3066" y="571"/>
                    </a:lnTo>
                    <a:lnTo>
                      <a:pt x="3061" y="584"/>
                    </a:lnTo>
                    <a:lnTo>
                      <a:pt x="3056" y="597"/>
                    </a:lnTo>
                    <a:lnTo>
                      <a:pt x="3050" y="609"/>
                    </a:lnTo>
                    <a:lnTo>
                      <a:pt x="3043" y="621"/>
                    </a:lnTo>
                    <a:lnTo>
                      <a:pt x="3036" y="632"/>
                    </a:lnTo>
                    <a:lnTo>
                      <a:pt x="3028" y="643"/>
                    </a:lnTo>
                    <a:lnTo>
                      <a:pt x="3019" y="654"/>
                    </a:lnTo>
                    <a:lnTo>
                      <a:pt x="3010" y="665"/>
                    </a:lnTo>
                    <a:lnTo>
                      <a:pt x="3001" y="675"/>
                    </a:lnTo>
                    <a:lnTo>
                      <a:pt x="2991" y="685"/>
                    </a:lnTo>
                    <a:lnTo>
                      <a:pt x="2980" y="694"/>
                    </a:lnTo>
                    <a:lnTo>
                      <a:pt x="2968" y="702"/>
                    </a:lnTo>
                    <a:lnTo>
                      <a:pt x="2957" y="711"/>
                    </a:lnTo>
                    <a:lnTo>
                      <a:pt x="2945" y="719"/>
                    </a:lnTo>
                    <a:lnTo>
                      <a:pt x="2933" y="726"/>
                    </a:lnTo>
                    <a:lnTo>
                      <a:pt x="2920" y="734"/>
                    </a:lnTo>
                    <a:lnTo>
                      <a:pt x="2908" y="740"/>
                    </a:lnTo>
                    <a:lnTo>
                      <a:pt x="2894" y="747"/>
                    </a:lnTo>
                    <a:lnTo>
                      <a:pt x="2867" y="759"/>
                    </a:lnTo>
                    <a:lnTo>
                      <a:pt x="2839" y="769"/>
                    </a:lnTo>
                    <a:lnTo>
                      <a:pt x="2809" y="777"/>
                    </a:lnTo>
                    <a:lnTo>
                      <a:pt x="2779" y="784"/>
                    </a:lnTo>
                    <a:lnTo>
                      <a:pt x="2702" y="798"/>
                    </a:lnTo>
                    <a:lnTo>
                      <a:pt x="2624" y="812"/>
                    </a:lnTo>
                    <a:lnTo>
                      <a:pt x="2547" y="825"/>
                    </a:lnTo>
                    <a:lnTo>
                      <a:pt x="2470" y="836"/>
                    </a:lnTo>
                    <a:lnTo>
                      <a:pt x="2392" y="846"/>
                    </a:lnTo>
                    <a:lnTo>
                      <a:pt x="2314" y="856"/>
                    </a:lnTo>
                    <a:lnTo>
                      <a:pt x="2237" y="864"/>
                    </a:lnTo>
                    <a:lnTo>
                      <a:pt x="2160" y="871"/>
                    </a:lnTo>
                    <a:lnTo>
                      <a:pt x="2082" y="878"/>
                    </a:lnTo>
                    <a:lnTo>
                      <a:pt x="2004" y="883"/>
                    </a:lnTo>
                    <a:lnTo>
                      <a:pt x="1927" y="887"/>
                    </a:lnTo>
                    <a:lnTo>
                      <a:pt x="1850" y="891"/>
                    </a:lnTo>
                    <a:lnTo>
                      <a:pt x="1773" y="893"/>
                    </a:lnTo>
                    <a:lnTo>
                      <a:pt x="1694" y="895"/>
                    </a:lnTo>
                    <a:lnTo>
                      <a:pt x="1617" y="896"/>
                    </a:lnTo>
                    <a:lnTo>
                      <a:pt x="1540" y="895"/>
                    </a:lnTo>
                    <a:lnTo>
                      <a:pt x="1463" y="894"/>
                    </a:lnTo>
                    <a:lnTo>
                      <a:pt x="1385" y="892"/>
                    </a:lnTo>
                    <a:lnTo>
                      <a:pt x="1307" y="889"/>
                    </a:lnTo>
                    <a:lnTo>
                      <a:pt x="1230" y="886"/>
                    </a:lnTo>
                    <a:lnTo>
                      <a:pt x="1153" y="881"/>
                    </a:lnTo>
                    <a:lnTo>
                      <a:pt x="1075" y="876"/>
                    </a:lnTo>
                    <a:lnTo>
                      <a:pt x="997" y="870"/>
                    </a:lnTo>
                    <a:lnTo>
                      <a:pt x="920" y="863"/>
                    </a:lnTo>
                    <a:lnTo>
                      <a:pt x="843" y="856"/>
                    </a:lnTo>
                    <a:lnTo>
                      <a:pt x="765" y="848"/>
                    </a:lnTo>
                    <a:lnTo>
                      <a:pt x="688" y="839"/>
                    </a:lnTo>
                    <a:lnTo>
                      <a:pt x="610" y="829"/>
                    </a:lnTo>
                    <a:lnTo>
                      <a:pt x="533" y="819"/>
                    </a:lnTo>
                    <a:lnTo>
                      <a:pt x="455" y="808"/>
                    </a:lnTo>
                    <a:lnTo>
                      <a:pt x="378" y="796"/>
                    </a:lnTo>
                    <a:lnTo>
                      <a:pt x="301" y="784"/>
                    </a:lnTo>
                    <a:lnTo>
                      <a:pt x="270" y="778"/>
                    </a:lnTo>
                    <a:lnTo>
                      <a:pt x="241" y="770"/>
                    </a:lnTo>
                    <a:lnTo>
                      <a:pt x="227" y="766"/>
                    </a:lnTo>
                    <a:lnTo>
                      <a:pt x="213" y="761"/>
                    </a:lnTo>
                    <a:lnTo>
                      <a:pt x="199" y="755"/>
                    </a:lnTo>
                    <a:lnTo>
                      <a:pt x="185" y="749"/>
                    </a:lnTo>
                    <a:lnTo>
                      <a:pt x="171" y="743"/>
                    </a:lnTo>
                    <a:lnTo>
                      <a:pt x="158" y="736"/>
                    </a:lnTo>
                    <a:lnTo>
                      <a:pt x="146" y="729"/>
                    </a:lnTo>
                    <a:lnTo>
                      <a:pt x="133" y="721"/>
                    </a:lnTo>
                    <a:lnTo>
                      <a:pt x="122" y="713"/>
                    </a:lnTo>
                    <a:lnTo>
                      <a:pt x="110" y="705"/>
                    </a:lnTo>
                    <a:lnTo>
                      <a:pt x="99" y="696"/>
                    </a:lnTo>
                    <a:lnTo>
                      <a:pt x="89" y="687"/>
                    </a:lnTo>
                    <a:lnTo>
                      <a:pt x="79" y="677"/>
                    </a:lnTo>
                    <a:lnTo>
                      <a:pt x="69" y="667"/>
                    </a:lnTo>
                    <a:lnTo>
                      <a:pt x="60" y="655"/>
                    </a:lnTo>
                    <a:lnTo>
                      <a:pt x="52" y="645"/>
                    </a:lnTo>
                    <a:lnTo>
                      <a:pt x="44" y="633"/>
                    </a:lnTo>
                    <a:lnTo>
                      <a:pt x="37" y="622"/>
                    </a:lnTo>
                    <a:lnTo>
                      <a:pt x="30" y="610"/>
                    </a:lnTo>
                    <a:lnTo>
                      <a:pt x="24" y="597"/>
                    </a:lnTo>
                    <a:lnTo>
                      <a:pt x="19" y="585"/>
                    </a:lnTo>
                    <a:lnTo>
                      <a:pt x="14" y="572"/>
                    </a:lnTo>
                    <a:lnTo>
                      <a:pt x="10" y="558"/>
                    </a:lnTo>
                    <a:lnTo>
                      <a:pt x="6" y="544"/>
                    </a:lnTo>
                    <a:lnTo>
                      <a:pt x="4" y="530"/>
                    </a:lnTo>
                    <a:lnTo>
                      <a:pt x="2" y="516"/>
                    </a:lnTo>
                    <a:lnTo>
                      <a:pt x="0" y="501"/>
                    </a:lnTo>
                    <a:lnTo>
                      <a:pt x="0" y="486"/>
                    </a:lnTo>
                    <a:lnTo>
                      <a:pt x="0" y="300"/>
                    </a:lnTo>
                    <a:lnTo>
                      <a:pt x="0" y="285"/>
                    </a:lnTo>
                    <a:lnTo>
                      <a:pt x="2" y="270"/>
                    </a:lnTo>
                    <a:lnTo>
                      <a:pt x="4" y="254"/>
                    </a:lnTo>
                    <a:lnTo>
                      <a:pt x="6" y="239"/>
                    </a:lnTo>
                    <a:lnTo>
                      <a:pt x="10" y="224"/>
                    </a:lnTo>
                    <a:lnTo>
                      <a:pt x="14" y="209"/>
                    </a:lnTo>
                    <a:lnTo>
                      <a:pt x="18" y="195"/>
                    </a:lnTo>
                    <a:lnTo>
                      <a:pt x="24" y="181"/>
                    </a:lnTo>
                    <a:lnTo>
                      <a:pt x="30" y="167"/>
                    </a:lnTo>
                    <a:lnTo>
                      <a:pt x="37" y="154"/>
                    </a:lnTo>
                    <a:lnTo>
                      <a:pt x="44" y="140"/>
                    </a:lnTo>
                    <a:lnTo>
                      <a:pt x="52" y="128"/>
                    </a:lnTo>
                    <a:lnTo>
                      <a:pt x="60" y="115"/>
                    </a:lnTo>
                    <a:lnTo>
                      <a:pt x="69" y="104"/>
                    </a:lnTo>
                    <a:lnTo>
                      <a:pt x="79" y="92"/>
                    </a:lnTo>
                    <a:lnTo>
                      <a:pt x="89" y="81"/>
                    </a:lnTo>
                    <a:lnTo>
                      <a:pt x="99" y="71"/>
                    </a:lnTo>
                    <a:lnTo>
                      <a:pt x="110" y="61"/>
                    </a:lnTo>
                    <a:lnTo>
                      <a:pt x="121" y="52"/>
                    </a:lnTo>
                    <a:lnTo>
                      <a:pt x="133" y="43"/>
                    </a:lnTo>
                    <a:lnTo>
                      <a:pt x="145" y="36"/>
                    </a:lnTo>
                    <a:lnTo>
                      <a:pt x="158" y="29"/>
                    </a:lnTo>
                    <a:lnTo>
                      <a:pt x="171" y="22"/>
                    </a:lnTo>
                    <a:lnTo>
                      <a:pt x="185" y="16"/>
                    </a:lnTo>
                    <a:lnTo>
                      <a:pt x="198" y="12"/>
                    </a:lnTo>
                    <a:lnTo>
                      <a:pt x="212" y="8"/>
                    </a:lnTo>
                    <a:lnTo>
                      <a:pt x="226" y="4"/>
                    </a:lnTo>
                    <a:lnTo>
                      <a:pt x="241" y="2"/>
                    </a:lnTo>
                    <a:lnTo>
                      <a:pt x="255" y="1"/>
                    </a:lnTo>
                    <a:lnTo>
                      <a:pt x="270" y="0"/>
                    </a:lnTo>
                    <a:lnTo>
                      <a:pt x="285" y="1"/>
                    </a:lnTo>
                    <a:lnTo>
                      <a:pt x="301" y="2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3" name="Freeform 15"/>
              <p:cNvSpPr>
                <a:spLocks/>
              </p:cNvSpPr>
              <p:nvPr/>
            </p:nvSpPr>
            <p:spPr bwMode="auto">
              <a:xfrm>
                <a:off x="1311275" y="5405438"/>
                <a:ext cx="169862" cy="114300"/>
              </a:xfrm>
              <a:custGeom>
                <a:avLst/>
                <a:gdLst>
                  <a:gd name="T0" fmla="*/ 2147483647 w 2144"/>
                  <a:gd name="T1" fmla="*/ 2147483647 h 1454"/>
                  <a:gd name="T2" fmla="*/ 2147483647 w 2144"/>
                  <a:gd name="T3" fmla="*/ 2147483647 h 1454"/>
                  <a:gd name="T4" fmla="*/ 2147483647 w 2144"/>
                  <a:gd name="T5" fmla="*/ 2147483647 h 1454"/>
                  <a:gd name="T6" fmla="*/ 2147483647 w 2144"/>
                  <a:gd name="T7" fmla="*/ 2147483647 h 1454"/>
                  <a:gd name="T8" fmla="*/ 2147483647 w 2144"/>
                  <a:gd name="T9" fmla="*/ 2147483647 h 1454"/>
                  <a:gd name="T10" fmla="*/ 2147483647 w 2144"/>
                  <a:gd name="T11" fmla="*/ 2147483647 h 1454"/>
                  <a:gd name="T12" fmla="*/ 2147483647 w 2144"/>
                  <a:gd name="T13" fmla="*/ 2147483647 h 1454"/>
                  <a:gd name="T14" fmla="*/ 2147483647 w 2144"/>
                  <a:gd name="T15" fmla="*/ 2147483647 h 1454"/>
                  <a:gd name="T16" fmla="*/ 2147483647 w 2144"/>
                  <a:gd name="T17" fmla="*/ 2147483647 h 1454"/>
                  <a:gd name="T18" fmla="*/ 2147483647 w 2144"/>
                  <a:gd name="T19" fmla="*/ 2147483647 h 1454"/>
                  <a:gd name="T20" fmla="*/ 2147483647 w 2144"/>
                  <a:gd name="T21" fmla="*/ 2147483647 h 1454"/>
                  <a:gd name="T22" fmla="*/ 2147483647 w 2144"/>
                  <a:gd name="T23" fmla="*/ 2147483647 h 1454"/>
                  <a:gd name="T24" fmla="*/ 2147483647 w 2144"/>
                  <a:gd name="T25" fmla="*/ 2147483647 h 1454"/>
                  <a:gd name="T26" fmla="*/ 2147483647 w 2144"/>
                  <a:gd name="T27" fmla="*/ 2147483647 h 1454"/>
                  <a:gd name="T28" fmla="*/ 2147483647 w 2144"/>
                  <a:gd name="T29" fmla="*/ 2147483647 h 1454"/>
                  <a:gd name="T30" fmla="*/ 2147483647 w 2144"/>
                  <a:gd name="T31" fmla="*/ 2147483647 h 1454"/>
                  <a:gd name="T32" fmla="*/ 2147483647 w 2144"/>
                  <a:gd name="T33" fmla="*/ 2147483647 h 1454"/>
                  <a:gd name="T34" fmla="*/ 2147483647 w 2144"/>
                  <a:gd name="T35" fmla="*/ 2147483647 h 1454"/>
                  <a:gd name="T36" fmla="*/ 2147483647 w 2144"/>
                  <a:gd name="T37" fmla="*/ 2147483647 h 1454"/>
                  <a:gd name="T38" fmla="*/ 2147483647 w 2144"/>
                  <a:gd name="T39" fmla="*/ 2147483647 h 1454"/>
                  <a:gd name="T40" fmla="*/ 2147483647 w 2144"/>
                  <a:gd name="T41" fmla="*/ 2147483647 h 1454"/>
                  <a:gd name="T42" fmla="*/ 2147483647 w 2144"/>
                  <a:gd name="T43" fmla="*/ 2147483647 h 1454"/>
                  <a:gd name="T44" fmla="*/ 2147483647 w 2144"/>
                  <a:gd name="T45" fmla="*/ 2147483647 h 1454"/>
                  <a:gd name="T46" fmla="*/ 2147483647 w 2144"/>
                  <a:gd name="T47" fmla="*/ 2147483647 h 1454"/>
                  <a:gd name="T48" fmla="*/ 2147483647 w 2144"/>
                  <a:gd name="T49" fmla="*/ 2147483647 h 1454"/>
                  <a:gd name="T50" fmla="*/ 2147483647 w 2144"/>
                  <a:gd name="T51" fmla="*/ 2147483647 h 1454"/>
                  <a:gd name="T52" fmla="*/ 2147483647 w 2144"/>
                  <a:gd name="T53" fmla="*/ 2147483647 h 1454"/>
                  <a:gd name="T54" fmla="*/ 2147483647 w 2144"/>
                  <a:gd name="T55" fmla="*/ 2147483647 h 1454"/>
                  <a:gd name="T56" fmla="*/ 2147483647 w 2144"/>
                  <a:gd name="T57" fmla="*/ 2147483647 h 1454"/>
                  <a:gd name="T58" fmla="*/ 2147483647 w 2144"/>
                  <a:gd name="T59" fmla="*/ 2147483647 h 1454"/>
                  <a:gd name="T60" fmla="*/ 2147483647 w 2144"/>
                  <a:gd name="T61" fmla="*/ 2147483647 h 1454"/>
                  <a:gd name="T62" fmla="*/ 2147483647 w 2144"/>
                  <a:gd name="T63" fmla="*/ 2147483647 h 1454"/>
                  <a:gd name="T64" fmla="*/ 2147483647 w 2144"/>
                  <a:gd name="T65" fmla="*/ 2147483647 h 1454"/>
                  <a:gd name="T66" fmla="*/ 2147483647 w 2144"/>
                  <a:gd name="T67" fmla="*/ 2147483647 h 1454"/>
                  <a:gd name="T68" fmla="*/ 2147483647 w 2144"/>
                  <a:gd name="T69" fmla="*/ 2147483647 h 1454"/>
                  <a:gd name="T70" fmla="*/ 2147483647 w 2144"/>
                  <a:gd name="T71" fmla="*/ 2147483647 h 1454"/>
                  <a:gd name="T72" fmla="*/ 2147483647 w 2144"/>
                  <a:gd name="T73" fmla="*/ 2147483647 h 1454"/>
                  <a:gd name="T74" fmla="*/ 2147483647 w 2144"/>
                  <a:gd name="T75" fmla="*/ 2147483647 h 1454"/>
                  <a:gd name="T76" fmla="*/ 2147483647 w 2144"/>
                  <a:gd name="T77" fmla="*/ 2147483647 h 1454"/>
                  <a:gd name="T78" fmla="*/ 2147483647 w 2144"/>
                  <a:gd name="T79" fmla="*/ 2147483647 h 1454"/>
                  <a:gd name="T80" fmla="*/ 2147483647 w 2144"/>
                  <a:gd name="T81" fmla="*/ 2147483647 h 1454"/>
                  <a:gd name="T82" fmla="*/ 2147483647 w 2144"/>
                  <a:gd name="T83" fmla="*/ 2147483647 h 1454"/>
                  <a:gd name="T84" fmla="*/ 2147483647 w 2144"/>
                  <a:gd name="T85" fmla="*/ 2147483647 h 1454"/>
                  <a:gd name="T86" fmla="*/ 2147483647 w 2144"/>
                  <a:gd name="T87" fmla="*/ 2147483647 h 1454"/>
                  <a:gd name="T88" fmla="*/ 2147483647 w 2144"/>
                  <a:gd name="T89" fmla="*/ 2147483647 h 1454"/>
                  <a:gd name="T90" fmla="*/ 2147483647 w 2144"/>
                  <a:gd name="T91" fmla="*/ 2147483647 h 1454"/>
                  <a:gd name="T92" fmla="*/ 2147483647 w 2144"/>
                  <a:gd name="T93" fmla="*/ 0 h 1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44"/>
                  <a:gd name="T142" fmla="*/ 0 h 1454"/>
                  <a:gd name="T143" fmla="*/ 2144 w 2144"/>
                  <a:gd name="T144" fmla="*/ 1454 h 1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44" h="1454">
                    <a:moveTo>
                      <a:pt x="931" y="115"/>
                    </a:moveTo>
                    <a:lnTo>
                      <a:pt x="255" y="517"/>
                    </a:lnTo>
                    <a:lnTo>
                      <a:pt x="133" y="624"/>
                    </a:lnTo>
                    <a:lnTo>
                      <a:pt x="125" y="635"/>
                    </a:lnTo>
                    <a:lnTo>
                      <a:pt x="106" y="666"/>
                    </a:lnTo>
                    <a:lnTo>
                      <a:pt x="94" y="689"/>
                    </a:lnTo>
                    <a:lnTo>
                      <a:pt x="80" y="715"/>
                    </a:lnTo>
                    <a:lnTo>
                      <a:pt x="66" y="746"/>
                    </a:lnTo>
                    <a:lnTo>
                      <a:pt x="52" y="779"/>
                    </a:lnTo>
                    <a:lnTo>
                      <a:pt x="38" y="815"/>
                    </a:lnTo>
                    <a:lnTo>
                      <a:pt x="26" y="853"/>
                    </a:lnTo>
                    <a:lnTo>
                      <a:pt x="20" y="872"/>
                    </a:lnTo>
                    <a:lnTo>
                      <a:pt x="15" y="892"/>
                    </a:lnTo>
                    <a:lnTo>
                      <a:pt x="11" y="913"/>
                    </a:lnTo>
                    <a:lnTo>
                      <a:pt x="7" y="934"/>
                    </a:lnTo>
                    <a:lnTo>
                      <a:pt x="4" y="955"/>
                    </a:lnTo>
                    <a:lnTo>
                      <a:pt x="2" y="976"/>
                    </a:lnTo>
                    <a:lnTo>
                      <a:pt x="1" y="998"/>
                    </a:lnTo>
                    <a:lnTo>
                      <a:pt x="0" y="1019"/>
                    </a:lnTo>
                    <a:lnTo>
                      <a:pt x="1" y="1041"/>
                    </a:lnTo>
                    <a:lnTo>
                      <a:pt x="3" y="1063"/>
                    </a:lnTo>
                    <a:lnTo>
                      <a:pt x="6" y="1085"/>
                    </a:lnTo>
                    <a:lnTo>
                      <a:pt x="10" y="1106"/>
                    </a:lnTo>
                    <a:lnTo>
                      <a:pt x="15" y="1129"/>
                    </a:lnTo>
                    <a:lnTo>
                      <a:pt x="23" y="1152"/>
                    </a:lnTo>
                    <a:lnTo>
                      <a:pt x="31" y="1175"/>
                    </a:lnTo>
                    <a:lnTo>
                      <a:pt x="42" y="1199"/>
                    </a:lnTo>
                    <a:lnTo>
                      <a:pt x="54" y="1223"/>
                    </a:lnTo>
                    <a:lnTo>
                      <a:pt x="68" y="1247"/>
                    </a:lnTo>
                    <a:lnTo>
                      <a:pt x="83" y="1271"/>
                    </a:lnTo>
                    <a:lnTo>
                      <a:pt x="100" y="1295"/>
                    </a:lnTo>
                    <a:lnTo>
                      <a:pt x="118" y="1318"/>
                    </a:lnTo>
                    <a:lnTo>
                      <a:pt x="138" y="1340"/>
                    </a:lnTo>
                    <a:lnTo>
                      <a:pt x="159" y="1361"/>
                    </a:lnTo>
                    <a:lnTo>
                      <a:pt x="182" y="1381"/>
                    </a:lnTo>
                    <a:lnTo>
                      <a:pt x="194" y="1391"/>
                    </a:lnTo>
                    <a:lnTo>
                      <a:pt x="206" y="1400"/>
                    </a:lnTo>
                    <a:lnTo>
                      <a:pt x="219" y="1409"/>
                    </a:lnTo>
                    <a:lnTo>
                      <a:pt x="232" y="1417"/>
                    </a:lnTo>
                    <a:lnTo>
                      <a:pt x="246" y="1425"/>
                    </a:lnTo>
                    <a:lnTo>
                      <a:pt x="259" y="1432"/>
                    </a:lnTo>
                    <a:lnTo>
                      <a:pt x="273" y="1439"/>
                    </a:lnTo>
                    <a:lnTo>
                      <a:pt x="288" y="1445"/>
                    </a:lnTo>
                    <a:lnTo>
                      <a:pt x="299" y="1449"/>
                    </a:lnTo>
                    <a:lnTo>
                      <a:pt x="312" y="1451"/>
                    </a:lnTo>
                    <a:lnTo>
                      <a:pt x="324" y="1453"/>
                    </a:lnTo>
                    <a:lnTo>
                      <a:pt x="336" y="1454"/>
                    </a:lnTo>
                    <a:lnTo>
                      <a:pt x="361" y="1454"/>
                    </a:lnTo>
                    <a:lnTo>
                      <a:pt x="387" y="1452"/>
                    </a:lnTo>
                    <a:lnTo>
                      <a:pt x="413" y="1448"/>
                    </a:lnTo>
                    <a:lnTo>
                      <a:pt x="441" y="1445"/>
                    </a:lnTo>
                    <a:lnTo>
                      <a:pt x="455" y="1444"/>
                    </a:lnTo>
                    <a:lnTo>
                      <a:pt x="469" y="1444"/>
                    </a:lnTo>
                    <a:lnTo>
                      <a:pt x="483" y="1444"/>
                    </a:lnTo>
                    <a:lnTo>
                      <a:pt x="498" y="1445"/>
                    </a:lnTo>
                    <a:lnTo>
                      <a:pt x="528" y="1446"/>
                    </a:lnTo>
                    <a:lnTo>
                      <a:pt x="560" y="1445"/>
                    </a:lnTo>
                    <a:lnTo>
                      <a:pt x="592" y="1443"/>
                    </a:lnTo>
                    <a:lnTo>
                      <a:pt x="626" y="1438"/>
                    </a:lnTo>
                    <a:lnTo>
                      <a:pt x="659" y="1432"/>
                    </a:lnTo>
                    <a:lnTo>
                      <a:pt x="694" y="1425"/>
                    </a:lnTo>
                    <a:lnTo>
                      <a:pt x="729" y="1416"/>
                    </a:lnTo>
                    <a:lnTo>
                      <a:pt x="764" y="1405"/>
                    </a:lnTo>
                    <a:lnTo>
                      <a:pt x="800" y="1393"/>
                    </a:lnTo>
                    <a:lnTo>
                      <a:pt x="836" y="1380"/>
                    </a:lnTo>
                    <a:lnTo>
                      <a:pt x="873" y="1365"/>
                    </a:lnTo>
                    <a:lnTo>
                      <a:pt x="910" y="1350"/>
                    </a:lnTo>
                    <a:lnTo>
                      <a:pt x="948" y="1333"/>
                    </a:lnTo>
                    <a:lnTo>
                      <a:pt x="985" y="1315"/>
                    </a:lnTo>
                    <a:lnTo>
                      <a:pt x="1022" y="1296"/>
                    </a:lnTo>
                    <a:lnTo>
                      <a:pt x="1060" y="1277"/>
                    </a:lnTo>
                    <a:lnTo>
                      <a:pt x="1097" y="1257"/>
                    </a:lnTo>
                    <a:lnTo>
                      <a:pt x="1134" y="1236"/>
                    </a:lnTo>
                    <a:lnTo>
                      <a:pt x="1171" y="1214"/>
                    </a:lnTo>
                    <a:lnTo>
                      <a:pt x="1208" y="1192"/>
                    </a:lnTo>
                    <a:lnTo>
                      <a:pt x="1282" y="1147"/>
                    </a:lnTo>
                    <a:lnTo>
                      <a:pt x="1354" y="1100"/>
                    </a:lnTo>
                    <a:lnTo>
                      <a:pt x="1424" y="1053"/>
                    </a:lnTo>
                    <a:lnTo>
                      <a:pt x="1491" y="1006"/>
                    </a:lnTo>
                    <a:lnTo>
                      <a:pt x="1556" y="961"/>
                    </a:lnTo>
                    <a:lnTo>
                      <a:pt x="1617" y="916"/>
                    </a:lnTo>
                    <a:lnTo>
                      <a:pt x="1681" y="868"/>
                    </a:lnTo>
                    <a:lnTo>
                      <a:pt x="1741" y="822"/>
                    </a:lnTo>
                    <a:lnTo>
                      <a:pt x="1797" y="778"/>
                    </a:lnTo>
                    <a:lnTo>
                      <a:pt x="1849" y="737"/>
                    </a:lnTo>
                    <a:lnTo>
                      <a:pt x="1897" y="697"/>
                    </a:lnTo>
                    <a:lnTo>
                      <a:pt x="1940" y="661"/>
                    </a:lnTo>
                    <a:lnTo>
                      <a:pt x="1979" y="627"/>
                    </a:lnTo>
                    <a:lnTo>
                      <a:pt x="2014" y="597"/>
                    </a:lnTo>
                    <a:lnTo>
                      <a:pt x="2071" y="545"/>
                    </a:lnTo>
                    <a:lnTo>
                      <a:pt x="2112" y="507"/>
                    </a:lnTo>
                    <a:lnTo>
                      <a:pt x="2136" y="483"/>
                    </a:lnTo>
                    <a:lnTo>
                      <a:pt x="2144" y="475"/>
                    </a:lnTo>
                    <a:lnTo>
                      <a:pt x="1554" y="0"/>
                    </a:lnTo>
                    <a:lnTo>
                      <a:pt x="93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4" name="Freeform 16"/>
              <p:cNvSpPr>
                <a:spLocks/>
              </p:cNvSpPr>
              <p:nvPr/>
            </p:nvSpPr>
            <p:spPr bwMode="auto">
              <a:xfrm>
                <a:off x="1311275" y="5416550"/>
                <a:ext cx="171450" cy="104775"/>
              </a:xfrm>
              <a:custGeom>
                <a:avLst/>
                <a:gdLst>
                  <a:gd name="T0" fmla="*/ 2147483647 w 2152"/>
                  <a:gd name="T1" fmla="*/ 2147483647 h 1326"/>
                  <a:gd name="T2" fmla="*/ 2147483647 w 2152"/>
                  <a:gd name="T3" fmla="*/ 2147483647 h 1326"/>
                  <a:gd name="T4" fmla="*/ 2147483647 w 2152"/>
                  <a:gd name="T5" fmla="*/ 2147483647 h 1326"/>
                  <a:gd name="T6" fmla="*/ 2147483647 w 2152"/>
                  <a:gd name="T7" fmla="*/ 2147483647 h 1326"/>
                  <a:gd name="T8" fmla="*/ 2147483647 w 2152"/>
                  <a:gd name="T9" fmla="*/ 2147483647 h 1326"/>
                  <a:gd name="T10" fmla="*/ 2147483647 w 2152"/>
                  <a:gd name="T11" fmla="*/ 2147483647 h 1326"/>
                  <a:gd name="T12" fmla="*/ 2147483647 w 2152"/>
                  <a:gd name="T13" fmla="*/ 2147483647 h 1326"/>
                  <a:gd name="T14" fmla="*/ 2147483647 w 2152"/>
                  <a:gd name="T15" fmla="*/ 2147483647 h 1326"/>
                  <a:gd name="T16" fmla="*/ 2147483647 w 2152"/>
                  <a:gd name="T17" fmla="*/ 2147483647 h 1326"/>
                  <a:gd name="T18" fmla="*/ 2147483647 w 2152"/>
                  <a:gd name="T19" fmla="*/ 2147483647 h 1326"/>
                  <a:gd name="T20" fmla="*/ 2147483647 w 2152"/>
                  <a:gd name="T21" fmla="*/ 2147483647 h 1326"/>
                  <a:gd name="T22" fmla="*/ 2147483647 w 2152"/>
                  <a:gd name="T23" fmla="*/ 2147483647 h 1326"/>
                  <a:gd name="T24" fmla="*/ 2147483647 w 2152"/>
                  <a:gd name="T25" fmla="*/ 2147483647 h 1326"/>
                  <a:gd name="T26" fmla="*/ 2147483647 w 2152"/>
                  <a:gd name="T27" fmla="*/ 2147483647 h 1326"/>
                  <a:gd name="T28" fmla="*/ 2147483647 w 2152"/>
                  <a:gd name="T29" fmla="*/ 2147483647 h 1326"/>
                  <a:gd name="T30" fmla="*/ 2147483647 w 2152"/>
                  <a:gd name="T31" fmla="*/ 2147483647 h 1326"/>
                  <a:gd name="T32" fmla="*/ 2147483647 w 2152"/>
                  <a:gd name="T33" fmla="*/ 2147483647 h 1326"/>
                  <a:gd name="T34" fmla="*/ 2147483647 w 2152"/>
                  <a:gd name="T35" fmla="*/ 2147483647 h 1326"/>
                  <a:gd name="T36" fmla="*/ 0 w 2152"/>
                  <a:gd name="T37" fmla="*/ 2147483647 h 1326"/>
                  <a:gd name="T38" fmla="*/ 2147483647 w 2152"/>
                  <a:gd name="T39" fmla="*/ 2147483647 h 1326"/>
                  <a:gd name="T40" fmla="*/ 2147483647 w 2152"/>
                  <a:gd name="T41" fmla="*/ 2147483647 h 1326"/>
                  <a:gd name="T42" fmla="*/ 2147483647 w 2152"/>
                  <a:gd name="T43" fmla="*/ 2147483647 h 1326"/>
                  <a:gd name="T44" fmla="*/ 2147483647 w 2152"/>
                  <a:gd name="T45" fmla="*/ 2147483647 h 1326"/>
                  <a:gd name="T46" fmla="*/ 2147483647 w 2152"/>
                  <a:gd name="T47" fmla="*/ 2147483647 h 1326"/>
                  <a:gd name="T48" fmla="*/ 2147483647 w 2152"/>
                  <a:gd name="T49" fmla="*/ 2147483647 h 1326"/>
                  <a:gd name="T50" fmla="*/ 2147483647 w 2152"/>
                  <a:gd name="T51" fmla="*/ 2147483647 h 1326"/>
                  <a:gd name="T52" fmla="*/ 2147483647 w 2152"/>
                  <a:gd name="T53" fmla="*/ 2147483647 h 1326"/>
                  <a:gd name="T54" fmla="*/ 2147483647 w 2152"/>
                  <a:gd name="T55" fmla="*/ 2147483647 h 1326"/>
                  <a:gd name="T56" fmla="*/ 2147483647 w 2152"/>
                  <a:gd name="T57" fmla="*/ 2147483647 h 1326"/>
                  <a:gd name="T58" fmla="*/ 2147483647 w 2152"/>
                  <a:gd name="T59" fmla="*/ 2147483647 h 1326"/>
                  <a:gd name="T60" fmla="*/ 2147483647 w 2152"/>
                  <a:gd name="T61" fmla="*/ 2147483647 h 1326"/>
                  <a:gd name="T62" fmla="*/ 2147483647 w 2152"/>
                  <a:gd name="T63" fmla="*/ 2147483647 h 1326"/>
                  <a:gd name="T64" fmla="*/ 2147483647 w 2152"/>
                  <a:gd name="T65" fmla="*/ 2147483647 h 1326"/>
                  <a:gd name="T66" fmla="*/ 2147483647 w 2152"/>
                  <a:gd name="T67" fmla="*/ 2147483647 h 1326"/>
                  <a:gd name="T68" fmla="*/ 2147483647 w 2152"/>
                  <a:gd name="T69" fmla="*/ 2147483647 h 1326"/>
                  <a:gd name="T70" fmla="*/ 2147483647 w 2152"/>
                  <a:gd name="T71" fmla="*/ 2147483647 h 1326"/>
                  <a:gd name="T72" fmla="*/ 2147483647 w 2152"/>
                  <a:gd name="T73" fmla="*/ 2147483647 h 1326"/>
                  <a:gd name="T74" fmla="*/ 2147483647 w 2152"/>
                  <a:gd name="T75" fmla="*/ 2147483647 h 1326"/>
                  <a:gd name="T76" fmla="*/ 2147483647 w 2152"/>
                  <a:gd name="T77" fmla="*/ 2147483647 h 1326"/>
                  <a:gd name="T78" fmla="*/ 2147483647 w 2152"/>
                  <a:gd name="T79" fmla="*/ 2147483647 h 1326"/>
                  <a:gd name="T80" fmla="*/ 2147483647 w 2152"/>
                  <a:gd name="T81" fmla="*/ 2147483647 h 1326"/>
                  <a:gd name="T82" fmla="*/ 2147483647 w 2152"/>
                  <a:gd name="T83" fmla="*/ 2147483647 h 1326"/>
                  <a:gd name="T84" fmla="*/ 2147483647 w 2152"/>
                  <a:gd name="T85" fmla="*/ 2147483647 h 1326"/>
                  <a:gd name="T86" fmla="*/ 2147483647 w 2152"/>
                  <a:gd name="T87" fmla="*/ 2147483647 h 1326"/>
                  <a:gd name="T88" fmla="*/ 2147483647 w 2152"/>
                  <a:gd name="T89" fmla="*/ 2147483647 h 1326"/>
                  <a:gd name="T90" fmla="*/ 2147483647 w 2152"/>
                  <a:gd name="T91" fmla="*/ 2147483647 h 1326"/>
                  <a:gd name="T92" fmla="*/ 2147483647 w 2152"/>
                  <a:gd name="T93" fmla="*/ 2147483647 h 1326"/>
                  <a:gd name="T94" fmla="*/ 2147483647 w 2152"/>
                  <a:gd name="T95" fmla="*/ 2147483647 h 1326"/>
                  <a:gd name="T96" fmla="*/ 2147483647 w 2152"/>
                  <a:gd name="T97" fmla="*/ 2147483647 h 1326"/>
                  <a:gd name="T98" fmla="*/ 2147483647 w 2152"/>
                  <a:gd name="T99" fmla="*/ 2147483647 h 1326"/>
                  <a:gd name="T100" fmla="*/ 2147483647 w 2152"/>
                  <a:gd name="T101" fmla="*/ 2147483647 h 1326"/>
                  <a:gd name="T102" fmla="*/ 2147483647 w 2152"/>
                  <a:gd name="T103" fmla="*/ 2147483647 h 1326"/>
                  <a:gd name="T104" fmla="*/ 2147483647 w 2152"/>
                  <a:gd name="T105" fmla="*/ 2147483647 h 1326"/>
                  <a:gd name="T106" fmla="*/ 2147483647 w 2152"/>
                  <a:gd name="T107" fmla="*/ 2147483647 h 13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52"/>
                  <a:gd name="T163" fmla="*/ 0 h 1326"/>
                  <a:gd name="T164" fmla="*/ 2152 w 2152"/>
                  <a:gd name="T165" fmla="*/ 1326 h 13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52" h="1326">
                    <a:moveTo>
                      <a:pt x="827" y="0"/>
                    </a:moveTo>
                    <a:lnTo>
                      <a:pt x="790" y="24"/>
                    </a:lnTo>
                    <a:lnTo>
                      <a:pt x="752" y="50"/>
                    </a:lnTo>
                    <a:lnTo>
                      <a:pt x="713" y="77"/>
                    </a:lnTo>
                    <a:lnTo>
                      <a:pt x="672" y="104"/>
                    </a:lnTo>
                    <a:lnTo>
                      <a:pt x="630" y="132"/>
                    </a:lnTo>
                    <a:lnTo>
                      <a:pt x="585" y="161"/>
                    </a:lnTo>
                    <a:lnTo>
                      <a:pt x="539" y="191"/>
                    </a:lnTo>
                    <a:lnTo>
                      <a:pt x="492" y="219"/>
                    </a:lnTo>
                    <a:lnTo>
                      <a:pt x="444" y="248"/>
                    </a:lnTo>
                    <a:lnTo>
                      <a:pt x="394" y="276"/>
                    </a:lnTo>
                    <a:lnTo>
                      <a:pt x="346" y="304"/>
                    </a:lnTo>
                    <a:lnTo>
                      <a:pt x="298" y="333"/>
                    </a:lnTo>
                    <a:lnTo>
                      <a:pt x="275" y="348"/>
                    </a:lnTo>
                    <a:lnTo>
                      <a:pt x="253" y="363"/>
                    </a:lnTo>
                    <a:lnTo>
                      <a:pt x="232" y="378"/>
                    </a:lnTo>
                    <a:lnTo>
                      <a:pt x="213" y="393"/>
                    </a:lnTo>
                    <a:lnTo>
                      <a:pt x="194" y="409"/>
                    </a:lnTo>
                    <a:lnTo>
                      <a:pt x="177" y="424"/>
                    </a:lnTo>
                    <a:lnTo>
                      <a:pt x="162" y="440"/>
                    </a:lnTo>
                    <a:lnTo>
                      <a:pt x="148" y="457"/>
                    </a:lnTo>
                    <a:lnTo>
                      <a:pt x="132" y="478"/>
                    </a:lnTo>
                    <a:lnTo>
                      <a:pt x="117" y="499"/>
                    </a:lnTo>
                    <a:lnTo>
                      <a:pt x="103" y="522"/>
                    </a:lnTo>
                    <a:lnTo>
                      <a:pt x="90" y="544"/>
                    </a:lnTo>
                    <a:lnTo>
                      <a:pt x="77" y="568"/>
                    </a:lnTo>
                    <a:lnTo>
                      <a:pt x="65" y="592"/>
                    </a:lnTo>
                    <a:lnTo>
                      <a:pt x="54" y="617"/>
                    </a:lnTo>
                    <a:lnTo>
                      <a:pt x="44" y="641"/>
                    </a:lnTo>
                    <a:lnTo>
                      <a:pt x="35" y="666"/>
                    </a:lnTo>
                    <a:lnTo>
                      <a:pt x="27" y="692"/>
                    </a:lnTo>
                    <a:lnTo>
                      <a:pt x="20" y="717"/>
                    </a:lnTo>
                    <a:lnTo>
                      <a:pt x="14" y="743"/>
                    </a:lnTo>
                    <a:lnTo>
                      <a:pt x="9" y="769"/>
                    </a:lnTo>
                    <a:lnTo>
                      <a:pt x="5" y="795"/>
                    </a:lnTo>
                    <a:lnTo>
                      <a:pt x="2" y="821"/>
                    </a:lnTo>
                    <a:lnTo>
                      <a:pt x="0" y="848"/>
                    </a:lnTo>
                    <a:lnTo>
                      <a:pt x="0" y="874"/>
                    </a:lnTo>
                    <a:lnTo>
                      <a:pt x="1" y="900"/>
                    </a:lnTo>
                    <a:lnTo>
                      <a:pt x="3" y="926"/>
                    </a:lnTo>
                    <a:lnTo>
                      <a:pt x="6" y="952"/>
                    </a:lnTo>
                    <a:lnTo>
                      <a:pt x="11" y="978"/>
                    </a:lnTo>
                    <a:lnTo>
                      <a:pt x="17" y="1004"/>
                    </a:lnTo>
                    <a:lnTo>
                      <a:pt x="25" y="1030"/>
                    </a:lnTo>
                    <a:lnTo>
                      <a:pt x="34" y="1054"/>
                    </a:lnTo>
                    <a:lnTo>
                      <a:pt x="44" y="1079"/>
                    </a:lnTo>
                    <a:lnTo>
                      <a:pt x="56" y="1103"/>
                    </a:lnTo>
                    <a:lnTo>
                      <a:pt x="69" y="1127"/>
                    </a:lnTo>
                    <a:lnTo>
                      <a:pt x="85" y="1150"/>
                    </a:lnTo>
                    <a:lnTo>
                      <a:pt x="101" y="1172"/>
                    </a:lnTo>
                    <a:lnTo>
                      <a:pt x="120" y="1194"/>
                    </a:lnTo>
                    <a:lnTo>
                      <a:pt x="140" y="1216"/>
                    </a:lnTo>
                    <a:lnTo>
                      <a:pt x="161" y="1236"/>
                    </a:lnTo>
                    <a:lnTo>
                      <a:pt x="178" y="1250"/>
                    </a:lnTo>
                    <a:lnTo>
                      <a:pt x="195" y="1262"/>
                    </a:lnTo>
                    <a:lnTo>
                      <a:pt x="214" y="1274"/>
                    </a:lnTo>
                    <a:lnTo>
                      <a:pt x="233" y="1284"/>
                    </a:lnTo>
                    <a:lnTo>
                      <a:pt x="253" y="1293"/>
                    </a:lnTo>
                    <a:lnTo>
                      <a:pt x="274" y="1300"/>
                    </a:lnTo>
                    <a:lnTo>
                      <a:pt x="296" y="1307"/>
                    </a:lnTo>
                    <a:lnTo>
                      <a:pt x="319" y="1313"/>
                    </a:lnTo>
                    <a:lnTo>
                      <a:pt x="343" y="1317"/>
                    </a:lnTo>
                    <a:lnTo>
                      <a:pt x="366" y="1321"/>
                    </a:lnTo>
                    <a:lnTo>
                      <a:pt x="391" y="1324"/>
                    </a:lnTo>
                    <a:lnTo>
                      <a:pt x="416" y="1325"/>
                    </a:lnTo>
                    <a:lnTo>
                      <a:pt x="442" y="1326"/>
                    </a:lnTo>
                    <a:lnTo>
                      <a:pt x="468" y="1325"/>
                    </a:lnTo>
                    <a:lnTo>
                      <a:pt x="495" y="1324"/>
                    </a:lnTo>
                    <a:lnTo>
                      <a:pt x="522" y="1322"/>
                    </a:lnTo>
                    <a:lnTo>
                      <a:pt x="549" y="1319"/>
                    </a:lnTo>
                    <a:lnTo>
                      <a:pt x="577" y="1316"/>
                    </a:lnTo>
                    <a:lnTo>
                      <a:pt x="606" y="1311"/>
                    </a:lnTo>
                    <a:lnTo>
                      <a:pt x="635" y="1306"/>
                    </a:lnTo>
                    <a:lnTo>
                      <a:pt x="664" y="1300"/>
                    </a:lnTo>
                    <a:lnTo>
                      <a:pt x="693" y="1293"/>
                    </a:lnTo>
                    <a:lnTo>
                      <a:pt x="722" y="1286"/>
                    </a:lnTo>
                    <a:lnTo>
                      <a:pt x="752" y="1277"/>
                    </a:lnTo>
                    <a:lnTo>
                      <a:pt x="781" y="1269"/>
                    </a:lnTo>
                    <a:lnTo>
                      <a:pt x="811" y="1259"/>
                    </a:lnTo>
                    <a:lnTo>
                      <a:pt x="840" y="1249"/>
                    </a:lnTo>
                    <a:lnTo>
                      <a:pt x="870" y="1239"/>
                    </a:lnTo>
                    <a:lnTo>
                      <a:pt x="899" y="1227"/>
                    </a:lnTo>
                    <a:lnTo>
                      <a:pt x="930" y="1216"/>
                    </a:lnTo>
                    <a:lnTo>
                      <a:pt x="959" y="1204"/>
                    </a:lnTo>
                    <a:lnTo>
                      <a:pt x="988" y="1191"/>
                    </a:lnTo>
                    <a:lnTo>
                      <a:pt x="1021" y="1176"/>
                    </a:lnTo>
                    <a:lnTo>
                      <a:pt x="1052" y="1161"/>
                    </a:lnTo>
                    <a:lnTo>
                      <a:pt x="1083" y="1145"/>
                    </a:lnTo>
                    <a:lnTo>
                      <a:pt x="1112" y="1129"/>
                    </a:lnTo>
                    <a:lnTo>
                      <a:pt x="1141" y="1113"/>
                    </a:lnTo>
                    <a:lnTo>
                      <a:pt x="1169" y="1096"/>
                    </a:lnTo>
                    <a:lnTo>
                      <a:pt x="1195" y="1079"/>
                    </a:lnTo>
                    <a:lnTo>
                      <a:pt x="1220" y="1062"/>
                    </a:lnTo>
                    <a:lnTo>
                      <a:pt x="1337" y="978"/>
                    </a:lnTo>
                    <a:lnTo>
                      <a:pt x="1444" y="900"/>
                    </a:lnTo>
                    <a:lnTo>
                      <a:pt x="1544" y="825"/>
                    </a:lnTo>
                    <a:lnTo>
                      <a:pt x="1636" y="756"/>
                    </a:lnTo>
                    <a:lnTo>
                      <a:pt x="1719" y="691"/>
                    </a:lnTo>
                    <a:lnTo>
                      <a:pt x="1796" y="631"/>
                    </a:lnTo>
                    <a:lnTo>
                      <a:pt x="1865" y="575"/>
                    </a:lnTo>
                    <a:lnTo>
                      <a:pt x="1926" y="525"/>
                    </a:lnTo>
                    <a:lnTo>
                      <a:pt x="1980" y="481"/>
                    </a:lnTo>
                    <a:lnTo>
                      <a:pt x="2026" y="442"/>
                    </a:lnTo>
                    <a:lnTo>
                      <a:pt x="2064" y="408"/>
                    </a:lnTo>
                    <a:lnTo>
                      <a:pt x="2096" y="380"/>
                    </a:lnTo>
                    <a:lnTo>
                      <a:pt x="2120" y="359"/>
                    </a:lnTo>
                    <a:lnTo>
                      <a:pt x="2138" y="343"/>
                    </a:lnTo>
                    <a:lnTo>
                      <a:pt x="2148" y="333"/>
                    </a:lnTo>
                    <a:lnTo>
                      <a:pt x="2152" y="330"/>
                    </a:lnTo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5" name="Freeform 17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DED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4436" name="Freeform 18"/>
              <p:cNvSpPr>
                <a:spLocks/>
              </p:cNvSpPr>
              <p:nvPr/>
            </p:nvSpPr>
            <p:spPr bwMode="auto">
              <a:xfrm>
                <a:off x="1277938" y="5584825"/>
                <a:ext cx="180975" cy="12700"/>
              </a:xfrm>
              <a:custGeom>
                <a:avLst/>
                <a:gdLst>
                  <a:gd name="T0" fmla="*/ 2147483647 w 2270"/>
                  <a:gd name="T1" fmla="*/ 0 h 158"/>
                  <a:gd name="T2" fmla="*/ 2147483647 w 2270"/>
                  <a:gd name="T3" fmla="*/ 0 h 158"/>
                  <a:gd name="T4" fmla="*/ 2147483647 w 2270"/>
                  <a:gd name="T5" fmla="*/ 2147483647 h 158"/>
                  <a:gd name="T6" fmla="*/ 2147483647 w 2270"/>
                  <a:gd name="T7" fmla="*/ 2147483647 h 158"/>
                  <a:gd name="T8" fmla="*/ 2147483647 w 2270"/>
                  <a:gd name="T9" fmla="*/ 2147483647 h 158"/>
                  <a:gd name="T10" fmla="*/ 2147483647 w 2270"/>
                  <a:gd name="T11" fmla="*/ 2147483647 h 158"/>
                  <a:gd name="T12" fmla="*/ 2147483647 w 2270"/>
                  <a:gd name="T13" fmla="*/ 2147483647 h 158"/>
                  <a:gd name="T14" fmla="*/ 2147483647 w 2270"/>
                  <a:gd name="T15" fmla="*/ 2147483647 h 158"/>
                  <a:gd name="T16" fmla="*/ 2147483647 w 2270"/>
                  <a:gd name="T17" fmla="*/ 2147483647 h 158"/>
                  <a:gd name="T18" fmla="*/ 2147483647 w 2270"/>
                  <a:gd name="T19" fmla="*/ 2147483647 h 158"/>
                  <a:gd name="T20" fmla="*/ 2147483647 w 2270"/>
                  <a:gd name="T21" fmla="*/ 2147483647 h 158"/>
                  <a:gd name="T22" fmla="*/ 2147483647 w 2270"/>
                  <a:gd name="T23" fmla="*/ 2147483647 h 158"/>
                  <a:gd name="T24" fmla="*/ 2147483647 w 2270"/>
                  <a:gd name="T25" fmla="*/ 2147483647 h 158"/>
                  <a:gd name="T26" fmla="*/ 2147483647 w 2270"/>
                  <a:gd name="T27" fmla="*/ 2147483647 h 158"/>
                  <a:gd name="T28" fmla="*/ 2147483647 w 2270"/>
                  <a:gd name="T29" fmla="*/ 2147483647 h 158"/>
                  <a:gd name="T30" fmla="*/ 2147483647 w 2270"/>
                  <a:gd name="T31" fmla="*/ 2147483647 h 158"/>
                  <a:gd name="T32" fmla="*/ 2147483647 w 2270"/>
                  <a:gd name="T33" fmla="*/ 2147483647 h 158"/>
                  <a:gd name="T34" fmla="*/ 2147483647 w 2270"/>
                  <a:gd name="T35" fmla="*/ 2147483647 h 158"/>
                  <a:gd name="T36" fmla="*/ 2147483647 w 2270"/>
                  <a:gd name="T37" fmla="*/ 2147483647 h 158"/>
                  <a:gd name="T38" fmla="*/ 2147483647 w 2270"/>
                  <a:gd name="T39" fmla="*/ 2147483647 h 158"/>
                  <a:gd name="T40" fmla="*/ 2147483647 w 2270"/>
                  <a:gd name="T41" fmla="*/ 2147483647 h 158"/>
                  <a:gd name="T42" fmla="*/ 2147483647 w 2270"/>
                  <a:gd name="T43" fmla="*/ 2147483647 h 158"/>
                  <a:gd name="T44" fmla="*/ 2147483647 w 2270"/>
                  <a:gd name="T45" fmla="*/ 2147483647 h 158"/>
                  <a:gd name="T46" fmla="*/ 2147483647 w 2270"/>
                  <a:gd name="T47" fmla="*/ 2147483647 h 158"/>
                  <a:gd name="T48" fmla="*/ 2147483647 w 2270"/>
                  <a:gd name="T49" fmla="*/ 2147483647 h 158"/>
                  <a:gd name="T50" fmla="*/ 2147483647 w 2270"/>
                  <a:gd name="T51" fmla="*/ 2147483647 h 158"/>
                  <a:gd name="T52" fmla="*/ 0 w 2270"/>
                  <a:gd name="T53" fmla="*/ 2147483647 h 158"/>
                  <a:gd name="T54" fmla="*/ 0 w 2270"/>
                  <a:gd name="T55" fmla="*/ 2147483647 h 158"/>
                  <a:gd name="T56" fmla="*/ 0 w 2270"/>
                  <a:gd name="T57" fmla="*/ 2147483647 h 158"/>
                  <a:gd name="T58" fmla="*/ 0 w 2270"/>
                  <a:gd name="T59" fmla="*/ 2147483647 h 158"/>
                  <a:gd name="T60" fmla="*/ 2147483647 w 2270"/>
                  <a:gd name="T61" fmla="*/ 2147483647 h 158"/>
                  <a:gd name="T62" fmla="*/ 2147483647 w 2270"/>
                  <a:gd name="T63" fmla="*/ 2147483647 h 158"/>
                  <a:gd name="T64" fmla="*/ 2147483647 w 2270"/>
                  <a:gd name="T65" fmla="*/ 2147483647 h 158"/>
                  <a:gd name="T66" fmla="*/ 2147483647 w 2270"/>
                  <a:gd name="T67" fmla="*/ 2147483647 h 158"/>
                  <a:gd name="T68" fmla="*/ 2147483647 w 2270"/>
                  <a:gd name="T69" fmla="*/ 2147483647 h 158"/>
                  <a:gd name="T70" fmla="*/ 2147483647 w 2270"/>
                  <a:gd name="T71" fmla="*/ 2147483647 h 158"/>
                  <a:gd name="T72" fmla="*/ 2147483647 w 2270"/>
                  <a:gd name="T73" fmla="*/ 0 h 1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70"/>
                  <a:gd name="T112" fmla="*/ 0 h 158"/>
                  <a:gd name="T113" fmla="*/ 2270 w 2270"/>
                  <a:gd name="T114" fmla="*/ 158 h 1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70" h="158">
                    <a:moveTo>
                      <a:pt x="39" y="0"/>
                    </a:moveTo>
                    <a:lnTo>
                      <a:pt x="2230" y="0"/>
                    </a:lnTo>
                    <a:lnTo>
                      <a:pt x="2237" y="1"/>
                    </a:lnTo>
                    <a:lnTo>
                      <a:pt x="2245" y="3"/>
                    </a:lnTo>
                    <a:lnTo>
                      <a:pt x="2252" y="7"/>
                    </a:lnTo>
                    <a:lnTo>
                      <a:pt x="2257" y="12"/>
                    </a:lnTo>
                    <a:lnTo>
                      <a:pt x="2262" y="17"/>
                    </a:lnTo>
                    <a:lnTo>
                      <a:pt x="2266" y="24"/>
                    </a:lnTo>
                    <a:lnTo>
                      <a:pt x="2269" y="31"/>
                    </a:lnTo>
                    <a:lnTo>
                      <a:pt x="2270" y="39"/>
                    </a:lnTo>
                    <a:lnTo>
                      <a:pt x="2270" y="119"/>
                    </a:lnTo>
                    <a:lnTo>
                      <a:pt x="2269" y="127"/>
                    </a:lnTo>
                    <a:lnTo>
                      <a:pt x="2266" y="134"/>
                    </a:lnTo>
                    <a:lnTo>
                      <a:pt x="2262" y="141"/>
                    </a:lnTo>
                    <a:lnTo>
                      <a:pt x="2257" y="147"/>
                    </a:lnTo>
                    <a:lnTo>
                      <a:pt x="2252" y="152"/>
                    </a:lnTo>
                    <a:lnTo>
                      <a:pt x="2245" y="155"/>
                    </a:lnTo>
                    <a:lnTo>
                      <a:pt x="2237" y="158"/>
                    </a:lnTo>
                    <a:lnTo>
                      <a:pt x="2230" y="158"/>
                    </a:lnTo>
                    <a:lnTo>
                      <a:pt x="39" y="158"/>
                    </a:lnTo>
                    <a:lnTo>
                      <a:pt x="31" y="158"/>
                    </a:lnTo>
                    <a:lnTo>
                      <a:pt x="24" y="155"/>
                    </a:lnTo>
                    <a:lnTo>
                      <a:pt x="17" y="152"/>
                    </a:lnTo>
                    <a:lnTo>
                      <a:pt x="11" y="147"/>
                    </a:lnTo>
                    <a:lnTo>
                      <a:pt x="6" y="141"/>
                    </a:lnTo>
                    <a:lnTo>
                      <a:pt x="3" y="134"/>
                    </a:lnTo>
                    <a:lnTo>
                      <a:pt x="0" y="127"/>
                    </a:lnTo>
                    <a:lnTo>
                      <a:pt x="0" y="119"/>
                    </a:lnTo>
                    <a:lnTo>
                      <a:pt x="0" y="39"/>
                    </a:lnTo>
                    <a:lnTo>
                      <a:pt x="0" y="31"/>
                    </a:lnTo>
                    <a:lnTo>
                      <a:pt x="3" y="24"/>
                    </a:lnTo>
                    <a:lnTo>
                      <a:pt x="6" y="17"/>
                    </a:lnTo>
                    <a:lnTo>
                      <a:pt x="11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close/>
                  </a:path>
                </a:pathLst>
              </a:custGeom>
              <a:noFill/>
              <a:ln w="1">
                <a:solidFill>
                  <a:srgbClr val="1F1A1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13" name="Прямоугольник 1535"/>
          <p:cNvSpPr/>
          <p:nvPr/>
        </p:nvSpPr>
        <p:spPr>
          <a:xfrm>
            <a:off x="8643938" y="3810000"/>
            <a:ext cx="236537" cy="59372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5868988" y="3648075"/>
            <a:ext cx="854075" cy="78105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/>
          <a:lstStyle/>
          <a:p>
            <a:pPr algn="ctr">
              <a:defRPr/>
            </a:pPr>
            <a:r>
              <a:rPr lang="ru-RU" sz="1600">
                <a:solidFill>
                  <a:srgbClr val="003366"/>
                </a:solidFill>
              </a:rPr>
              <a:t>ДЦ</a:t>
            </a:r>
          </a:p>
        </p:txBody>
      </p:sp>
      <p:cxnSp>
        <p:nvCxnSpPr>
          <p:cNvPr id="108" name="Прямая со стрелкой 107"/>
          <p:cNvCxnSpPr>
            <a:cxnSpLocks noChangeShapeType="1"/>
            <a:stCxn id="86" idx="3"/>
          </p:cNvCxnSpPr>
          <p:nvPr/>
        </p:nvCxnSpPr>
        <p:spPr bwMode="auto">
          <a:xfrm flipV="1">
            <a:off x="6723063" y="2687638"/>
            <a:ext cx="260350" cy="1350962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9" name="Прямая со стрелкой 108"/>
          <p:cNvCxnSpPr>
            <a:cxnSpLocks noChangeShapeType="1"/>
            <a:stCxn id="86" idx="3"/>
          </p:cNvCxnSpPr>
          <p:nvPr/>
        </p:nvCxnSpPr>
        <p:spPr bwMode="auto">
          <a:xfrm>
            <a:off x="6723063" y="4038600"/>
            <a:ext cx="315912" cy="1588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0" name="Прямая со стрелкой 109"/>
          <p:cNvCxnSpPr>
            <a:cxnSpLocks noChangeShapeType="1"/>
            <a:stCxn id="86" idx="3"/>
          </p:cNvCxnSpPr>
          <p:nvPr/>
        </p:nvCxnSpPr>
        <p:spPr bwMode="auto">
          <a:xfrm>
            <a:off x="6723063" y="4038600"/>
            <a:ext cx="327025" cy="1135063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stealth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9" name="Прямоугольник 118"/>
          <p:cNvSpPr/>
          <p:nvPr/>
        </p:nvSpPr>
        <p:spPr>
          <a:xfrm>
            <a:off x="8643938" y="2454275"/>
            <a:ext cx="236537" cy="5921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sp>
        <p:nvSpPr>
          <p:cNvPr id="120" name="Прямоугольник 119"/>
          <p:cNvSpPr/>
          <p:nvPr/>
        </p:nvSpPr>
        <p:spPr>
          <a:xfrm>
            <a:off x="8643938" y="4921250"/>
            <a:ext cx="236537" cy="5921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800"/>
          </a:p>
        </p:txBody>
      </p:sp>
      <p:grpSp>
        <p:nvGrpSpPr>
          <p:cNvPr id="54316" name="Группа 143"/>
          <p:cNvGrpSpPr>
            <a:grpSpLocks/>
          </p:cNvGrpSpPr>
          <p:nvPr/>
        </p:nvGrpSpPr>
        <p:grpSpPr bwMode="auto">
          <a:xfrm>
            <a:off x="5949950" y="4094163"/>
            <a:ext cx="736600" cy="874712"/>
            <a:chOff x="3338513" y="3459163"/>
            <a:chExt cx="773112" cy="919162"/>
          </a:xfrm>
        </p:grpSpPr>
        <p:sp>
          <p:nvSpPr>
            <p:cNvPr id="54387" name="Freeform 6"/>
            <p:cNvSpPr>
              <a:spLocks/>
            </p:cNvSpPr>
            <p:nvPr/>
          </p:nvSpPr>
          <p:spPr bwMode="auto">
            <a:xfrm>
              <a:off x="3338513" y="3932238"/>
              <a:ext cx="773112" cy="57150"/>
            </a:xfrm>
            <a:custGeom>
              <a:avLst/>
              <a:gdLst>
                <a:gd name="T0" fmla="*/ 2147483647 w 13636"/>
                <a:gd name="T1" fmla="*/ 2147483647 h 1004"/>
                <a:gd name="T2" fmla="*/ 2147483647 w 13636"/>
                <a:gd name="T3" fmla="*/ 0 h 1004"/>
                <a:gd name="T4" fmla="*/ 2147483647 w 13636"/>
                <a:gd name="T5" fmla="*/ 2147483647 h 1004"/>
                <a:gd name="T6" fmla="*/ 2147483647 w 13636"/>
                <a:gd name="T7" fmla="*/ 2147483647 h 1004"/>
                <a:gd name="T8" fmla="*/ 2147483647 w 13636"/>
                <a:gd name="T9" fmla="*/ 2147483647 h 1004"/>
                <a:gd name="T10" fmla="*/ 2147483647 w 13636"/>
                <a:gd name="T11" fmla="*/ 2147483647 h 1004"/>
                <a:gd name="T12" fmla="*/ 2147483647 w 13636"/>
                <a:gd name="T13" fmla="*/ 2147483647 h 1004"/>
                <a:gd name="T14" fmla="*/ 2147483647 w 13636"/>
                <a:gd name="T15" fmla="*/ 2147483647 h 1004"/>
                <a:gd name="T16" fmla="*/ 2147483647 w 13636"/>
                <a:gd name="T17" fmla="*/ 2147483647 h 1004"/>
                <a:gd name="T18" fmla="*/ 0 w 13636"/>
                <a:gd name="T19" fmla="*/ 2147483647 h 1004"/>
                <a:gd name="T20" fmla="*/ 2147483647 w 13636"/>
                <a:gd name="T21" fmla="*/ 2147483647 h 1004"/>
                <a:gd name="T22" fmla="*/ 2147483647 w 13636"/>
                <a:gd name="T23" fmla="*/ 2147483647 h 1004"/>
                <a:gd name="T24" fmla="*/ 2147483647 w 13636"/>
                <a:gd name="T25" fmla="*/ 2147483647 h 1004"/>
                <a:gd name="T26" fmla="*/ 2147483647 w 13636"/>
                <a:gd name="T27" fmla="*/ 2147483647 h 1004"/>
                <a:gd name="T28" fmla="*/ 2147483647 w 13636"/>
                <a:gd name="T29" fmla="*/ 2147483647 h 1004"/>
                <a:gd name="T30" fmla="*/ 2147483647 w 13636"/>
                <a:gd name="T31" fmla="*/ 2147483647 h 1004"/>
                <a:gd name="T32" fmla="*/ 2147483647 w 13636"/>
                <a:gd name="T33" fmla="*/ 2147483647 h 1004"/>
                <a:gd name="T34" fmla="*/ 2147483647 w 13636"/>
                <a:gd name="T35" fmla="*/ 2147483647 h 1004"/>
                <a:gd name="T36" fmla="*/ 2147483647 w 13636"/>
                <a:gd name="T37" fmla="*/ 2147483647 h 1004"/>
                <a:gd name="T38" fmla="*/ 2147483647 w 13636"/>
                <a:gd name="T39" fmla="*/ 2147483647 h 1004"/>
                <a:gd name="T40" fmla="*/ 2147483647 w 13636"/>
                <a:gd name="T41" fmla="*/ 2147483647 h 1004"/>
                <a:gd name="T42" fmla="*/ 2147483647 w 13636"/>
                <a:gd name="T43" fmla="*/ 2147483647 h 1004"/>
                <a:gd name="T44" fmla="*/ 2147483647 w 13636"/>
                <a:gd name="T45" fmla="*/ 2147483647 h 100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636"/>
                <a:gd name="T70" fmla="*/ 0 h 1004"/>
                <a:gd name="T71" fmla="*/ 13636 w 13636"/>
                <a:gd name="T72" fmla="*/ 1004 h 100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636" h="1004">
                  <a:moveTo>
                    <a:pt x="10676" y="12"/>
                  </a:moveTo>
                  <a:lnTo>
                    <a:pt x="10798" y="0"/>
                  </a:lnTo>
                  <a:lnTo>
                    <a:pt x="13598" y="9"/>
                  </a:lnTo>
                  <a:lnTo>
                    <a:pt x="13636" y="9"/>
                  </a:lnTo>
                  <a:lnTo>
                    <a:pt x="13600" y="23"/>
                  </a:lnTo>
                  <a:lnTo>
                    <a:pt x="11451" y="941"/>
                  </a:lnTo>
                  <a:lnTo>
                    <a:pt x="11476" y="910"/>
                  </a:lnTo>
                  <a:lnTo>
                    <a:pt x="10926" y="1004"/>
                  </a:lnTo>
                  <a:lnTo>
                    <a:pt x="39" y="1004"/>
                  </a:lnTo>
                  <a:lnTo>
                    <a:pt x="0" y="1004"/>
                  </a:lnTo>
                  <a:lnTo>
                    <a:pt x="36" y="991"/>
                  </a:lnTo>
                  <a:lnTo>
                    <a:pt x="2709" y="9"/>
                  </a:lnTo>
                  <a:lnTo>
                    <a:pt x="2710" y="9"/>
                  </a:lnTo>
                  <a:lnTo>
                    <a:pt x="9423" y="9"/>
                  </a:lnTo>
                  <a:lnTo>
                    <a:pt x="9423" y="23"/>
                  </a:lnTo>
                  <a:lnTo>
                    <a:pt x="2711" y="23"/>
                  </a:lnTo>
                  <a:lnTo>
                    <a:pt x="76" y="991"/>
                  </a:lnTo>
                  <a:lnTo>
                    <a:pt x="10926" y="991"/>
                  </a:lnTo>
                  <a:lnTo>
                    <a:pt x="11475" y="923"/>
                  </a:lnTo>
                  <a:lnTo>
                    <a:pt x="13561" y="23"/>
                  </a:lnTo>
                  <a:lnTo>
                    <a:pt x="10403" y="12"/>
                  </a:lnTo>
                  <a:lnTo>
                    <a:pt x="10676" y="12"/>
                  </a:lnTo>
                  <a:close/>
                </a:path>
              </a:pathLst>
            </a:cu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8" name="Freeform 7"/>
            <p:cNvSpPr>
              <a:spLocks/>
            </p:cNvSpPr>
            <p:nvPr/>
          </p:nvSpPr>
          <p:spPr bwMode="auto">
            <a:xfrm>
              <a:off x="3346450" y="3933825"/>
              <a:ext cx="763587" cy="87312"/>
            </a:xfrm>
            <a:custGeom>
              <a:avLst/>
              <a:gdLst>
                <a:gd name="T0" fmla="*/ 0 w 13464"/>
                <a:gd name="T1" fmla="*/ 2147483647 h 1549"/>
                <a:gd name="T2" fmla="*/ 2147483647 w 13464"/>
                <a:gd name="T3" fmla="*/ 2147483647 h 1549"/>
                <a:gd name="T4" fmla="*/ 2147483647 w 13464"/>
                <a:gd name="T5" fmla="*/ 2147483647 h 1549"/>
                <a:gd name="T6" fmla="*/ 2147483647 w 13464"/>
                <a:gd name="T7" fmla="*/ 2147483647 h 1549"/>
                <a:gd name="T8" fmla="*/ 2147483647 w 13464"/>
                <a:gd name="T9" fmla="*/ 0 h 15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464"/>
                <a:gd name="T16" fmla="*/ 0 h 1549"/>
                <a:gd name="T17" fmla="*/ 13464 w 13464"/>
                <a:gd name="T18" fmla="*/ 1549 h 154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464" h="1549">
                  <a:moveTo>
                    <a:pt x="0" y="951"/>
                  </a:moveTo>
                  <a:lnTo>
                    <a:pt x="43" y="1549"/>
                  </a:lnTo>
                  <a:lnTo>
                    <a:pt x="10677" y="1549"/>
                  </a:lnTo>
                  <a:lnTo>
                    <a:pt x="13417" y="377"/>
                  </a:lnTo>
                  <a:lnTo>
                    <a:pt x="13464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9" name="Rectangle 8"/>
            <p:cNvSpPr>
              <a:spLocks noChangeArrowheads="1"/>
            </p:cNvSpPr>
            <p:nvPr/>
          </p:nvSpPr>
          <p:spPr bwMode="auto">
            <a:xfrm>
              <a:off x="3376613" y="4021138"/>
              <a:ext cx="544512" cy="354012"/>
            </a:xfrm>
            <a:prstGeom prst="rect">
              <a:avLst/>
            </a:prstGeom>
            <a:noFill/>
            <a:ln w="1">
              <a:solidFill>
                <a:srgbClr val="1F1A1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/>
            </a:p>
          </p:txBody>
        </p:sp>
        <p:sp>
          <p:nvSpPr>
            <p:cNvPr id="54390" name="Freeform 9"/>
            <p:cNvSpPr>
              <a:spLocks/>
            </p:cNvSpPr>
            <p:nvPr/>
          </p:nvSpPr>
          <p:spPr bwMode="auto">
            <a:xfrm>
              <a:off x="3917950" y="3965575"/>
              <a:ext cx="179387" cy="412750"/>
            </a:xfrm>
            <a:custGeom>
              <a:avLst/>
              <a:gdLst>
                <a:gd name="T0" fmla="*/ 2147483647 w 3153"/>
                <a:gd name="T1" fmla="*/ 0 h 7282"/>
                <a:gd name="T2" fmla="*/ 2147483647 w 3153"/>
                <a:gd name="T3" fmla="*/ 2147483647 h 7282"/>
                <a:gd name="T4" fmla="*/ 0 w 3153"/>
                <a:gd name="T5" fmla="*/ 2147483647 h 7282"/>
                <a:gd name="T6" fmla="*/ 0 60000 65536"/>
                <a:gd name="T7" fmla="*/ 0 60000 65536"/>
                <a:gd name="T8" fmla="*/ 0 60000 65536"/>
                <a:gd name="T9" fmla="*/ 0 w 3153"/>
                <a:gd name="T10" fmla="*/ 0 h 7282"/>
                <a:gd name="T11" fmla="*/ 3153 w 3153"/>
                <a:gd name="T12" fmla="*/ 7282 h 728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53" h="7282">
                  <a:moveTo>
                    <a:pt x="3050" y="0"/>
                  </a:moveTo>
                  <a:lnTo>
                    <a:pt x="3153" y="5061"/>
                  </a:lnTo>
                  <a:lnTo>
                    <a:pt x="0" y="7282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91" name="Freeform 10"/>
            <p:cNvSpPr>
              <a:spLocks/>
            </p:cNvSpPr>
            <p:nvPr/>
          </p:nvSpPr>
          <p:spPr bwMode="auto">
            <a:xfrm>
              <a:off x="3951288" y="3751263"/>
              <a:ext cx="76200" cy="180975"/>
            </a:xfrm>
            <a:custGeom>
              <a:avLst/>
              <a:gdLst>
                <a:gd name="T0" fmla="*/ 0 w 1357"/>
                <a:gd name="T1" fmla="*/ 2147483647 h 3204"/>
                <a:gd name="T2" fmla="*/ 2147483647 w 1357"/>
                <a:gd name="T3" fmla="*/ 0 h 3204"/>
                <a:gd name="T4" fmla="*/ 2147483647 w 1357"/>
                <a:gd name="T5" fmla="*/ 2147483647 h 3204"/>
                <a:gd name="T6" fmla="*/ 2147483647 w 1357"/>
                <a:gd name="T7" fmla="*/ 2147483647 h 3204"/>
                <a:gd name="T8" fmla="*/ 2147483647 w 1357"/>
                <a:gd name="T9" fmla="*/ 2147483647 h 3204"/>
                <a:gd name="T10" fmla="*/ 2147483647 w 1357"/>
                <a:gd name="T11" fmla="*/ 2147483647 h 3204"/>
                <a:gd name="T12" fmla="*/ 2147483647 w 1357"/>
                <a:gd name="T13" fmla="*/ 2147483647 h 3204"/>
                <a:gd name="T14" fmla="*/ 2147483647 w 1357"/>
                <a:gd name="T15" fmla="*/ 2147483647 h 3204"/>
                <a:gd name="T16" fmla="*/ 2147483647 w 1357"/>
                <a:gd name="T17" fmla="*/ 2147483647 h 3204"/>
                <a:gd name="T18" fmla="*/ 0 w 1357"/>
                <a:gd name="T19" fmla="*/ 2147483647 h 3204"/>
                <a:gd name="T20" fmla="*/ 0 w 1357"/>
                <a:gd name="T21" fmla="*/ 2147483647 h 320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57"/>
                <a:gd name="T34" fmla="*/ 0 h 3204"/>
                <a:gd name="T35" fmla="*/ 1357 w 1357"/>
                <a:gd name="T36" fmla="*/ 3204 h 320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57" h="3204">
                  <a:moveTo>
                    <a:pt x="0" y="9"/>
                  </a:moveTo>
                  <a:lnTo>
                    <a:pt x="1345" y="0"/>
                  </a:lnTo>
                  <a:lnTo>
                    <a:pt x="1357" y="2635"/>
                  </a:lnTo>
                  <a:lnTo>
                    <a:pt x="673" y="2634"/>
                  </a:lnTo>
                  <a:lnTo>
                    <a:pt x="669" y="3204"/>
                  </a:lnTo>
                  <a:lnTo>
                    <a:pt x="84" y="3200"/>
                  </a:lnTo>
                  <a:lnTo>
                    <a:pt x="79" y="2376"/>
                  </a:lnTo>
                  <a:lnTo>
                    <a:pt x="978" y="2348"/>
                  </a:lnTo>
                  <a:lnTo>
                    <a:pt x="983" y="217"/>
                  </a:lnTo>
                  <a:lnTo>
                    <a:pt x="0" y="217"/>
                  </a:lnTo>
                  <a:lnTo>
                    <a:pt x="0" y="9"/>
                  </a:lnTo>
                  <a:close/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92" name="Freeform 11"/>
            <p:cNvSpPr>
              <a:spLocks/>
            </p:cNvSpPr>
            <p:nvPr/>
          </p:nvSpPr>
          <p:spPr bwMode="auto">
            <a:xfrm>
              <a:off x="3717925" y="3459163"/>
              <a:ext cx="152400" cy="160337"/>
            </a:xfrm>
            <a:custGeom>
              <a:avLst/>
              <a:gdLst>
                <a:gd name="T0" fmla="*/ 2147483647 w 2681"/>
                <a:gd name="T1" fmla="*/ 2147483647 h 2822"/>
                <a:gd name="T2" fmla="*/ 2147483647 w 2681"/>
                <a:gd name="T3" fmla="*/ 2147483647 h 2822"/>
                <a:gd name="T4" fmla="*/ 2147483647 w 2681"/>
                <a:gd name="T5" fmla="*/ 2147483647 h 2822"/>
                <a:gd name="T6" fmla="*/ 2147483647 w 2681"/>
                <a:gd name="T7" fmla="*/ 2147483647 h 2822"/>
                <a:gd name="T8" fmla="*/ 2147483647 w 2681"/>
                <a:gd name="T9" fmla="*/ 2147483647 h 2822"/>
                <a:gd name="T10" fmla="*/ 2147483647 w 2681"/>
                <a:gd name="T11" fmla="*/ 2147483647 h 2822"/>
                <a:gd name="T12" fmla="*/ 2147483647 w 2681"/>
                <a:gd name="T13" fmla="*/ 2147483647 h 2822"/>
                <a:gd name="T14" fmla="*/ 2147483647 w 2681"/>
                <a:gd name="T15" fmla="*/ 2147483647 h 2822"/>
                <a:gd name="T16" fmla="*/ 2147483647 w 2681"/>
                <a:gd name="T17" fmla="*/ 2147483647 h 2822"/>
                <a:gd name="T18" fmla="*/ 2147483647 w 2681"/>
                <a:gd name="T19" fmla="*/ 2147483647 h 2822"/>
                <a:gd name="T20" fmla="*/ 2147483647 w 2681"/>
                <a:gd name="T21" fmla="*/ 2147483647 h 2822"/>
                <a:gd name="T22" fmla="*/ 2147483647 w 2681"/>
                <a:gd name="T23" fmla="*/ 2147483647 h 2822"/>
                <a:gd name="T24" fmla="*/ 2147483647 w 2681"/>
                <a:gd name="T25" fmla="*/ 2147483647 h 2822"/>
                <a:gd name="T26" fmla="*/ 2147483647 w 2681"/>
                <a:gd name="T27" fmla="*/ 2147483647 h 2822"/>
                <a:gd name="T28" fmla="*/ 2147483647 w 2681"/>
                <a:gd name="T29" fmla="*/ 2147483647 h 2822"/>
                <a:gd name="T30" fmla="*/ 2147483647 w 2681"/>
                <a:gd name="T31" fmla="*/ 2147483647 h 2822"/>
                <a:gd name="T32" fmla="*/ 2147483647 w 2681"/>
                <a:gd name="T33" fmla="*/ 2147483647 h 2822"/>
                <a:gd name="T34" fmla="*/ 2147483647 w 2681"/>
                <a:gd name="T35" fmla="*/ 2147483647 h 2822"/>
                <a:gd name="T36" fmla="*/ 2147483647 w 2681"/>
                <a:gd name="T37" fmla="*/ 2147483647 h 2822"/>
                <a:gd name="T38" fmla="*/ 2147483647 w 2681"/>
                <a:gd name="T39" fmla="*/ 2147483647 h 2822"/>
                <a:gd name="T40" fmla="*/ 2147483647 w 2681"/>
                <a:gd name="T41" fmla="*/ 2147483647 h 2822"/>
                <a:gd name="T42" fmla="*/ 2147483647 w 2681"/>
                <a:gd name="T43" fmla="*/ 2147483647 h 2822"/>
                <a:gd name="T44" fmla="*/ 2147483647 w 2681"/>
                <a:gd name="T45" fmla="*/ 2147483647 h 2822"/>
                <a:gd name="T46" fmla="*/ 2147483647 w 2681"/>
                <a:gd name="T47" fmla="*/ 2147483647 h 2822"/>
                <a:gd name="T48" fmla="*/ 2147483647 w 2681"/>
                <a:gd name="T49" fmla="*/ 2147483647 h 2822"/>
                <a:gd name="T50" fmla="*/ 2147483647 w 2681"/>
                <a:gd name="T51" fmla="*/ 2147483647 h 2822"/>
                <a:gd name="T52" fmla="*/ 2147483647 w 2681"/>
                <a:gd name="T53" fmla="*/ 2147483647 h 2822"/>
                <a:gd name="T54" fmla="*/ 2147483647 w 2681"/>
                <a:gd name="T55" fmla="*/ 2147483647 h 2822"/>
                <a:gd name="T56" fmla="*/ 2147483647 w 2681"/>
                <a:gd name="T57" fmla="*/ 2147483647 h 2822"/>
                <a:gd name="T58" fmla="*/ 2147483647 w 2681"/>
                <a:gd name="T59" fmla="*/ 2147483647 h 2822"/>
                <a:gd name="T60" fmla="*/ 2147483647 w 2681"/>
                <a:gd name="T61" fmla="*/ 2147483647 h 2822"/>
                <a:gd name="T62" fmla="*/ 2147483647 w 2681"/>
                <a:gd name="T63" fmla="*/ 2147483647 h 2822"/>
                <a:gd name="T64" fmla="*/ 2147483647 w 2681"/>
                <a:gd name="T65" fmla="*/ 2147483647 h 2822"/>
                <a:gd name="T66" fmla="*/ 2147483647 w 2681"/>
                <a:gd name="T67" fmla="*/ 2147483647 h 2822"/>
                <a:gd name="T68" fmla="*/ 2147483647 w 2681"/>
                <a:gd name="T69" fmla="*/ 2147483647 h 2822"/>
                <a:gd name="T70" fmla="*/ 2147483647 w 2681"/>
                <a:gd name="T71" fmla="*/ 2147483647 h 2822"/>
                <a:gd name="T72" fmla="*/ 2147483647 w 2681"/>
                <a:gd name="T73" fmla="*/ 2147483647 h 2822"/>
                <a:gd name="T74" fmla="*/ 2147483647 w 2681"/>
                <a:gd name="T75" fmla="*/ 2147483647 h 2822"/>
                <a:gd name="T76" fmla="*/ 2147483647 w 2681"/>
                <a:gd name="T77" fmla="*/ 2147483647 h 2822"/>
                <a:gd name="T78" fmla="*/ 2147483647 w 2681"/>
                <a:gd name="T79" fmla="*/ 2147483647 h 2822"/>
                <a:gd name="T80" fmla="*/ 2147483647 w 2681"/>
                <a:gd name="T81" fmla="*/ 2147483647 h 2822"/>
                <a:gd name="T82" fmla="*/ 2147483647 w 2681"/>
                <a:gd name="T83" fmla="*/ 2147483647 h 2822"/>
                <a:gd name="T84" fmla="*/ 2147483647 w 2681"/>
                <a:gd name="T85" fmla="*/ 0 h 28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681"/>
                <a:gd name="T130" fmla="*/ 0 h 2822"/>
                <a:gd name="T131" fmla="*/ 2681 w 2681"/>
                <a:gd name="T132" fmla="*/ 2822 h 282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681" h="2822">
                  <a:moveTo>
                    <a:pt x="1341" y="0"/>
                  </a:moveTo>
                  <a:lnTo>
                    <a:pt x="1410" y="2"/>
                  </a:lnTo>
                  <a:lnTo>
                    <a:pt x="1477" y="7"/>
                  </a:lnTo>
                  <a:lnTo>
                    <a:pt x="1544" y="16"/>
                  </a:lnTo>
                  <a:lnTo>
                    <a:pt x="1610" y="28"/>
                  </a:lnTo>
                  <a:lnTo>
                    <a:pt x="1675" y="45"/>
                  </a:lnTo>
                  <a:lnTo>
                    <a:pt x="1738" y="64"/>
                  </a:lnTo>
                  <a:lnTo>
                    <a:pt x="1801" y="86"/>
                  </a:lnTo>
                  <a:lnTo>
                    <a:pt x="1862" y="112"/>
                  </a:lnTo>
                  <a:lnTo>
                    <a:pt x="1921" y="140"/>
                  </a:lnTo>
                  <a:lnTo>
                    <a:pt x="1978" y="170"/>
                  </a:lnTo>
                  <a:lnTo>
                    <a:pt x="2034" y="205"/>
                  </a:lnTo>
                  <a:lnTo>
                    <a:pt x="2089" y="241"/>
                  </a:lnTo>
                  <a:lnTo>
                    <a:pt x="2142" y="281"/>
                  </a:lnTo>
                  <a:lnTo>
                    <a:pt x="2192" y="322"/>
                  </a:lnTo>
                  <a:lnTo>
                    <a:pt x="2241" y="367"/>
                  </a:lnTo>
                  <a:lnTo>
                    <a:pt x="2288" y="413"/>
                  </a:lnTo>
                  <a:lnTo>
                    <a:pt x="2332" y="463"/>
                  </a:lnTo>
                  <a:lnTo>
                    <a:pt x="2374" y="514"/>
                  </a:lnTo>
                  <a:lnTo>
                    <a:pt x="2414" y="568"/>
                  </a:lnTo>
                  <a:lnTo>
                    <a:pt x="2451" y="623"/>
                  </a:lnTo>
                  <a:lnTo>
                    <a:pt x="2486" y="680"/>
                  </a:lnTo>
                  <a:lnTo>
                    <a:pt x="2519" y="739"/>
                  </a:lnTo>
                  <a:lnTo>
                    <a:pt x="2548" y="801"/>
                  </a:lnTo>
                  <a:lnTo>
                    <a:pt x="2575" y="862"/>
                  </a:lnTo>
                  <a:lnTo>
                    <a:pt x="2599" y="926"/>
                  </a:lnTo>
                  <a:lnTo>
                    <a:pt x="2620" y="992"/>
                  </a:lnTo>
                  <a:lnTo>
                    <a:pt x="2638" y="1059"/>
                  </a:lnTo>
                  <a:lnTo>
                    <a:pt x="2654" y="1127"/>
                  </a:lnTo>
                  <a:lnTo>
                    <a:pt x="2665" y="1197"/>
                  </a:lnTo>
                  <a:lnTo>
                    <a:pt x="2674" y="1267"/>
                  </a:lnTo>
                  <a:lnTo>
                    <a:pt x="2679" y="1339"/>
                  </a:lnTo>
                  <a:lnTo>
                    <a:pt x="2681" y="1411"/>
                  </a:lnTo>
                  <a:lnTo>
                    <a:pt x="2679" y="1483"/>
                  </a:lnTo>
                  <a:lnTo>
                    <a:pt x="2674" y="1554"/>
                  </a:lnTo>
                  <a:lnTo>
                    <a:pt x="2665" y="1625"/>
                  </a:lnTo>
                  <a:lnTo>
                    <a:pt x="2654" y="1694"/>
                  </a:lnTo>
                  <a:lnTo>
                    <a:pt x="2638" y="1763"/>
                  </a:lnTo>
                  <a:lnTo>
                    <a:pt x="2620" y="1830"/>
                  </a:lnTo>
                  <a:lnTo>
                    <a:pt x="2599" y="1895"/>
                  </a:lnTo>
                  <a:lnTo>
                    <a:pt x="2575" y="1959"/>
                  </a:lnTo>
                  <a:lnTo>
                    <a:pt x="2548" y="2022"/>
                  </a:lnTo>
                  <a:lnTo>
                    <a:pt x="2519" y="2082"/>
                  </a:lnTo>
                  <a:lnTo>
                    <a:pt x="2486" y="2141"/>
                  </a:lnTo>
                  <a:lnTo>
                    <a:pt x="2451" y="2199"/>
                  </a:lnTo>
                  <a:lnTo>
                    <a:pt x="2414" y="2255"/>
                  </a:lnTo>
                  <a:lnTo>
                    <a:pt x="2374" y="2307"/>
                  </a:lnTo>
                  <a:lnTo>
                    <a:pt x="2332" y="2359"/>
                  </a:lnTo>
                  <a:lnTo>
                    <a:pt x="2288" y="2408"/>
                  </a:lnTo>
                  <a:lnTo>
                    <a:pt x="2241" y="2454"/>
                  </a:lnTo>
                  <a:lnTo>
                    <a:pt x="2192" y="2499"/>
                  </a:lnTo>
                  <a:lnTo>
                    <a:pt x="2142" y="2540"/>
                  </a:lnTo>
                  <a:lnTo>
                    <a:pt x="2089" y="2580"/>
                  </a:lnTo>
                  <a:lnTo>
                    <a:pt x="2034" y="2617"/>
                  </a:lnTo>
                  <a:lnTo>
                    <a:pt x="1978" y="2651"/>
                  </a:lnTo>
                  <a:lnTo>
                    <a:pt x="1921" y="2682"/>
                  </a:lnTo>
                  <a:lnTo>
                    <a:pt x="1862" y="2711"/>
                  </a:lnTo>
                  <a:lnTo>
                    <a:pt x="1801" y="2736"/>
                  </a:lnTo>
                  <a:lnTo>
                    <a:pt x="1738" y="2758"/>
                  </a:lnTo>
                  <a:lnTo>
                    <a:pt x="1675" y="2777"/>
                  </a:lnTo>
                  <a:lnTo>
                    <a:pt x="1610" y="2793"/>
                  </a:lnTo>
                  <a:lnTo>
                    <a:pt x="1544" y="2806"/>
                  </a:lnTo>
                  <a:lnTo>
                    <a:pt x="1477" y="2814"/>
                  </a:lnTo>
                  <a:lnTo>
                    <a:pt x="1410" y="2820"/>
                  </a:lnTo>
                  <a:lnTo>
                    <a:pt x="1341" y="2822"/>
                  </a:lnTo>
                  <a:lnTo>
                    <a:pt x="1272" y="2820"/>
                  </a:lnTo>
                  <a:lnTo>
                    <a:pt x="1204" y="2814"/>
                  </a:lnTo>
                  <a:lnTo>
                    <a:pt x="1137" y="2806"/>
                  </a:lnTo>
                  <a:lnTo>
                    <a:pt x="1071" y="2793"/>
                  </a:lnTo>
                  <a:lnTo>
                    <a:pt x="1006" y="2777"/>
                  </a:lnTo>
                  <a:lnTo>
                    <a:pt x="943" y="2758"/>
                  </a:lnTo>
                  <a:lnTo>
                    <a:pt x="880" y="2736"/>
                  </a:lnTo>
                  <a:lnTo>
                    <a:pt x="820" y="2711"/>
                  </a:lnTo>
                  <a:lnTo>
                    <a:pt x="761" y="2682"/>
                  </a:lnTo>
                  <a:lnTo>
                    <a:pt x="703" y="2651"/>
                  </a:lnTo>
                  <a:lnTo>
                    <a:pt x="647" y="2617"/>
                  </a:lnTo>
                  <a:lnTo>
                    <a:pt x="592" y="2580"/>
                  </a:lnTo>
                  <a:lnTo>
                    <a:pt x="540" y="2540"/>
                  </a:lnTo>
                  <a:lnTo>
                    <a:pt x="489" y="2499"/>
                  </a:lnTo>
                  <a:lnTo>
                    <a:pt x="440" y="2454"/>
                  </a:lnTo>
                  <a:lnTo>
                    <a:pt x="394" y="2408"/>
                  </a:lnTo>
                  <a:lnTo>
                    <a:pt x="349" y="2359"/>
                  </a:lnTo>
                  <a:lnTo>
                    <a:pt x="308" y="2307"/>
                  </a:lnTo>
                  <a:lnTo>
                    <a:pt x="267" y="2255"/>
                  </a:lnTo>
                  <a:lnTo>
                    <a:pt x="230" y="2199"/>
                  </a:lnTo>
                  <a:lnTo>
                    <a:pt x="195" y="2141"/>
                  </a:lnTo>
                  <a:lnTo>
                    <a:pt x="163" y="2082"/>
                  </a:lnTo>
                  <a:lnTo>
                    <a:pt x="133" y="2022"/>
                  </a:lnTo>
                  <a:lnTo>
                    <a:pt x="107" y="1959"/>
                  </a:lnTo>
                  <a:lnTo>
                    <a:pt x="82" y="1895"/>
                  </a:lnTo>
                  <a:lnTo>
                    <a:pt x="61" y="1830"/>
                  </a:lnTo>
                  <a:lnTo>
                    <a:pt x="43" y="1763"/>
                  </a:lnTo>
                  <a:lnTo>
                    <a:pt x="28" y="1694"/>
                  </a:lnTo>
                  <a:lnTo>
                    <a:pt x="17" y="1625"/>
                  </a:lnTo>
                  <a:lnTo>
                    <a:pt x="7" y="1554"/>
                  </a:lnTo>
                  <a:lnTo>
                    <a:pt x="2" y="1483"/>
                  </a:lnTo>
                  <a:lnTo>
                    <a:pt x="0" y="1411"/>
                  </a:lnTo>
                  <a:lnTo>
                    <a:pt x="2" y="1339"/>
                  </a:lnTo>
                  <a:lnTo>
                    <a:pt x="7" y="1267"/>
                  </a:lnTo>
                  <a:lnTo>
                    <a:pt x="17" y="1197"/>
                  </a:lnTo>
                  <a:lnTo>
                    <a:pt x="28" y="1127"/>
                  </a:lnTo>
                  <a:lnTo>
                    <a:pt x="43" y="1059"/>
                  </a:lnTo>
                  <a:lnTo>
                    <a:pt x="61" y="992"/>
                  </a:lnTo>
                  <a:lnTo>
                    <a:pt x="82" y="926"/>
                  </a:lnTo>
                  <a:lnTo>
                    <a:pt x="107" y="862"/>
                  </a:lnTo>
                  <a:lnTo>
                    <a:pt x="133" y="801"/>
                  </a:lnTo>
                  <a:lnTo>
                    <a:pt x="163" y="739"/>
                  </a:lnTo>
                  <a:lnTo>
                    <a:pt x="195" y="680"/>
                  </a:lnTo>
                  <a:lnTo>
                    <a:pt x="230" y="623"/>
                  </a:lnTo>
                  <a:lnTo>
                    <a:pt x="267" y="568"/>
                  </a:lnTo>
                  <a:lnTo>
                    <a:pt x="308" y="514"/>
                  </a:lnTo>
                  <a:lnTo>
                    <a:pt x="349" y="463"/>
                  </a:lnTo>
                  <a:lnTo>
                    <a:pt x="394" y="413"/>
                  </a:lnTo>
                  <a:lnTo>
                    <a:pt x="440" y="367"/>
                  </a:lnTo>
                  <a:lnTo>
                    <a:pt x="489" y="322"/>
                  </a:lnTo>
                  <a:lnTo>
                    <a:pt x="540" y="281"/>
                  </a:lnTo>
                  <a:lnTo>
                    <a:pt x="592" y="241"/>
                  </a:lnTo>
                  <a:lnTo>
                    <a:pt x="647" y="205"/>
                  </a:lnTo>
                  <a:lnTo>
                    <a:pt x="703" y="170"/>
                  </a:lnTo>
                  <a:lnTo>
                    <a:pt x="761" y="140"/>
                  </a:lnTo>
                  <a:lnTo>
                    <a:pt x="820" y="112"/>
                  </a:lnTo>
                  <a:lnTo>
                    <a:pt x="880" y="86"/>
                  </a:lnTo>
                  <a:lnTo>
                    <a:pt x="943" y="64"/>
                  </a:lnTo>
                  <a:lnTo>
                    <a:pt x="1006" y="45"/>
                  </a:lnTo>
                  <a:lnTo>
                    <a:pt x="1071" y="28"/>
                  </a:lnTo>
                  <a:lnTo>
                    <a:pt x="1137" y="16"/>
                  </a:lnTo>
                  <a:lnTo>
                    <a:pt x="1204" y="7"/>
                  </a:lnTo>
                  <a:lnTo>
                    <a:pt x="1272" y="2"/>
                  </a:lnTo>
                  <a:lnTo>
                    <a:pt x="1341" y="0"/>
                  </a:lnTo>
                  <a:close/>
                </a:path>
              </a:pathLst>
            </a:custGeom>
            <a:solidFill>
              <a:schemeClr val="bg1"/>
            </a:solidFill>
            <a:ln w="1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393" name="Freeform 12"/>
            <p:cNvSpPr>
              <a:spLocks/>
            </p:cNvSpPr>
            <p:nvPr/>
          </p:nvSpPr>
          <p:spPr bwMode="auto">
            <a:xfrm>
              <a:off x="3571875" y="3914775"/>
              <a:ext cx="23812" cy="1587"/>
            </a:xfrm>
            <a:custGeom>
              <a:avLst/>
              <a:gdLst>
                <a:gd name="T0" fmla="*/ 0 w 437"/>
                <a:gd name="T1" fmla="*/ 2147483647 h 50"/>
                <a:gd name="T2" fmla="*/ 2147483647 w 437"/>
                <a:gd name="T3" fmla="*/ 2147483647 h 50"/>
                <a:gd name="T4" fmla="*/ 2147483647 w 437"/>
                <a:gd name="T5" fmla="*/ 2147483647 h 50"/>
                <a:gd name="T6" fmla="*/ 2147483647 w 437"/>
                <a:gd name="T7" fmla="*/ 2147483647 h 50"/>
                <a:gd name="T8" fmla="*/ 2147483647 w 437"/>
                <a:gd name="T9" fmla="*/ 2147483647 h 50"/>
                <a:gd name="T10" fmla="*/ 2147483647 w 437"/>
                <a:gd name="T11" fmla="*/ 0 h 50"/>
                <a:gd name="T12" fmla="*/ 2147483647 w 437"/>
                <a:gd name="T13" fmla="*/ 0 h 50"/>
                <a:gd name="T14" fmla="*/ 2147483647 w 437"/>
                <a:gd name="T15" fmla="*/ 0 h 50"/>
                <a:gd name="T16" fmla="*/ 2147483647 w 437"/>
                <a:gd name="T17" fmla="*/ 2147483647 h 50"/>
                <a:gd name="T18" fmla="*/ 2147483647 w 437"/>
                <a:gd name="T19" fmla="*/ 2147483647 h 50"/>
                <a:gd name="T20" fmla="*/ 2147483647 w 437"/>
                <a:gd name="T21" fmla="*/ 2147483647 h 50"/>
                <a:gd name="T22" fmla="*/ 2147483647 w 437"/>
                <a:gd name="T23" fmla="*/ 2147483647 h 50"/>
                <a:gd name="T24" fmla="*/ 2147483647 w 437"/>
                <a:gd name="T25" fmla="*/ 2147483647 h 50"/>
                <a:gd name="T26" fmla="*/ 2147483647 w 437"/>
                <a:gd name="T27" fmla="*/ 2147483647 h 50"/>
                <a:gd name="T28" fmla="*/ 2147483647 w 437"/>
                <a:gd name="T29" fmla="*/ 2147483647 h 50"/>
                <a:gd name="T30" fmla="*/ 2147483647 w 437"/>
                <a:gd name="T31" fmla="*/ 2147483647 h 50"/>
                <a:gd name="T32" fmla="*/ 2147483647 w 437"/>
                <a:gd name="T33" fmla="*/ 2147483647 h 50"/>
                <a:gd name="T34" fmla="*/ 2147483647 w 437"/>
                <a:gd name="T35" fmla="*/ 2147483647 h 50"/>
                <a:gd name="T36" fmla="*/ 2147483647 w 437"/>
                <a:gd name="T37" fmla="*/ 2147483647 h 50"/>
                <a:gd name="T38" fmla="*/ 2147483647 w 437"/>
                <a:gd name="T39" fmla="*/ 2147483647 h 50"/>
                <a:gd name="T40" fmla="*/ 2147483647 w 437"/>
                <a:gd name="T41" fmla="*/ 2147483647 h 50"/>
                <a:gd name="T42" fmla="*/ 2147483647 w 437"/>
                <a:gd name="T43" fmla="*/ 2147483647 h 50"/>
                <a:gd name="T44" fmla="*/ 2147483647 w 437"/>
                <a:gd name="T45" fmla="*/ 2147483647 h 50"/>
                <a:gd name="T46" fmla="*/ 2147483647 w 437"/>
                <a:gd name="T47" fmla="*/ 2147483647 h 50"/>
                <a:gd name="T48" fmla="*/ 2147483647 w 437"/>
                <a:gd name="T49" fmla="*/ 2147483647 h 50"/>
                <a:gd name="T50" fmla="*/ 2147483647 w 437"/>
                <a:gd name="T51" fmla="*/ 2147483647 h 50"/>
                <a:gd name="T52" fmla="*/ 2147483647 w 437"/>
                <a:gd name="T53" fmla="*/ 2147483647 h 50"/>
                <a:gd name="T54" fmla="*/ 2147483647 w 437"/>
                <a:gd name="T55" fmla="*/ 2147483647 h 50"/>
                <a:gd name="T56" fmla="*/ 2147483647 w 437"/>
                <a:gd name="T57" fmla="*/ 2147483647 h 50"/>
                <a:gd name="T58" fmla="*/ 2147483647 w 437"/>
                <a:gd name="T59" fmla="*/ 2147483647 h 50"/>
                <a:gd name="T60" fmla="*/ 2147483647 w 437"/>
                <a:gd name="T61" fmla="*/ 2147483647 h 50"/>
                <a:gd name="T62" fmla="*/ 2147483647 w 437"/>
                <a:gd name="T63" fmla="*/ 2147483647 h 50"/>
                <a:gd name="T64" fmla="*/ 0 w 437"/>
                <a:gd name="T65" fmla="*/ 2147483647 h 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37"/>
                <a:gd name="T100" fmla="*/ 0 h 50"/>
                <a:gd name="T101" fmla="*/ 437 w 437"/>
                <a:gd name="T102" fmla="*/ 50 h 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37" h="50">
                  <a:moveTo>
                    <a:pt x="0" y="19"/>
                  </a:moveTo>
                  <a:lnTo>
                    <a:pt x="70" y="13"/>
                  </a:lnTo>
                  <a:lnTo>
                    <a:pt x="133" y="8"/>
                  </a:lnTo>
                  <a:lnTo>
                    <a:pt x="190" y="4"/>
                  </a:lnTo>
                  <a:lnTo>
                    <a:pt x="239" y="2"/>
                  </a:lnTo>
                  <a:lnTo>
                    <a:pt x="283" y="0"/>
                  </a:lnTo>
                  <a:lnTo>
                    <a:pt x="320" y="0"/>
                  </a:lnTo>
                  <a:lnTo>
                    <a:pt x="352" y="0"/>
                  </a:lnTo>
                  <a:lnTo>
                    <a:pt x="378" y="1"/>
                  </a:lnTo>
                  <a:lnTo>
                    <a:pt x="399" y="3"/>
                  </a:lnTo>
                  <a:lnTo>
                    <a:pt x="416" y="5"/>
                  </a:lnTo>
                  <a:lnTo>
                    <a:pt x="428" y="8"/>
                  </a:lnTo>
                  <a:lnTo>
                    <a:pt x="434" y="11"/>
                  </a:lnTo>
                  <a:lnTo>
                    <a:pt x="437" y="15"/>
                  </a:lnTo>
                  <a:lnTo>
                    <a:pt x="436" y="19"/>
                  </a:lnTo>
                  <a:lnTo>
                    <a:pt x="431" y="23"/>
                  </a:lnTo>
                  <a:lnTo>
                    <a:pt x="422" y="27"/>
                  </a:lnTo>
                  <a:lnTo>
                    <a:pt x="410" y="31"/>
                  </a:lnTo>
                  <a:lnTo>
                    <a:pt x="395" y="34"/>
                  </a:lnTo>
                  <a:lnTo>
                    <a:pt x="377" y="38"/>
                  </a:lnTo>
                  <a:lnTo>
                    <a:pt x="357" y="41"/>
                  </a:lnTo>
                  <a:lnTo>
                    <a:pt x="335" y="45"/>
                  </a:lnTo>
                  <a:lnTo>
                    <a:pt x="309" y="47"/>
                  </a:lnTo>
                  <a:lnTo>
                    <a:pt x="283" y="49"/>
                  </a:lnTo>
                  <a:lnTo>
                    <a:pt x="254" y="50"/>
                  </a:lnTo>
                  <a:lnTo>
                    <a:pt x="225" y="50"/>
                  </a:lnTo>
                  <a:lnTo>
                    <a:pt x="195" y="49"/>
                  </a:lnTo>
                  <a:lnTo>
                    <a:pt x="162" y="47"/>
                  </a:lnTo>
                  <a:lnTo>
                    <a:pt x="131" y="43"/>
                  </a:lnTo>
                  <a:lnTo>
                    <a:pt x="98" y="39"/>
                  </a:lnTo>
                  <a:lnTo>
                    <a:pt x="65" y="34"/>
                  </a:lnTo>
                  <a:lnTo>
                    <a:pt x="32" y="27"/>
                  </a:lnTo>
                  <a:lnTo>
                    <a:pt x="0" y="19"/>
                  </a:lnTo>
                  <a:close/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94" name="Freeform 13"/>
            <p:cNvSpPr>
              <a:spLocks/>
            </p:cNvSpPr>
            <p:nvPr/>
          </p:nvSpPr>
          <p:spPr bwMode="auto">
            <a:xfrm>
              <a:off x="3581400" y="3632200"/>
              <a:ext cx="369887" cy="317500"/>
            </a:xfrm>
            <a:custGeom>
              <a:avLst/>
              <a:gdLst>
                <a:gd name="T0" fmla="*/ 2147483647 w 6518"/>
                <a:gd name="T1" fmla="*/ 2147483647 h 5612"/>
                <a:gd name="T2" fmla="*/ 2147483647 w 6518"/>
                <a:gd name="T3" fmla="*/ 2147483647 h 5612"/>
                <a:gd name="T4" fmla="*/ 2147483647 w 6518"/>
                <a:gd name="T5" fmla="*/ 2147483647 h 5612"/>
                <a:gd name="T6" fmla="*/ 2147483647 w 6518"/>
                <a:gd name="T7" fmla="*/ 2147483647 h 5612"/>
                <a:gd name="T8" fmla="*/ 2147483647 w 6518"/>
                <a:gd name="T9" fmla="*/ 2147483647 h 5612"/>
                <a:gd name="T10" fmla="*/ 2147483647 w 6518"/>
                <a:gd name="T11" fmla="*/ 2147483647 h 5612"/>
                <a:gd name="T12" fmla="*/ 2147483647 w 6518"/>
                <a:gd name="T13" fmla="*/ 2147483647 h 5612"/>
                <a:gd name="T14" fmla="*/ 2147483647 w 6518"/>
                <a:gd name="T15" fmla="*/ 2147483647 h 5612"/>
                <a:gd name="T16" fmla="*/ 2147483647 w 6518"/>
                <a:gd name="T17" fmla="*/ 2147483647 h 5612"/>
                <a:gd name="T18" fmla="*/ 2147483647 w 6518"/>
                <a:gd name="T19" fmla="*/ 2147483647 h 5612"/>
                <a:gd name="T20" fmla="*/ 2147483647 w 6518"/>
                <a:gd name="T21" fmla="*/ 2147483647 h 5612"/>
                <a:gd name="T22" fmla="*/ 2147483647 w 6518"/>
                <a:gd name="T23" fmla="*/ 2147483647 h 5612"/>
                <a:gd name="T24" fmla="*/ 2147483647 w 6518"/>
                <a:gd name="T25" fmla="*/ 2147483647 h 5612"/>
                <a:gd name="T26" fmla="*/ 2147483647 w 6518"/>
                <a:gd name="T27" fmla="*/ 2147483647 h 5612"/>
                <a:gd name="T28" fmla="*/ 2147483647 w 6518"/>
                <a:gd name="T29" fmla="*/ 2147483647 h 5612"/>
                <a:gd name="T30" fmla="*/ 0 w 6518"/>
                <a:gd name="T31" fmla="*/ 2147483647 h 5612"/>
                <a:gd name="T32" fmla="*/ 2147483647 w 6518"/>
                <a:gd name="T33" fmla="*/ 2147483647 h 5612"/>
                <a:gd name="T34" fmla="*/ 2147483647 w 6518"/>
                <a:gd name="T35" fmla="*/ 2147483647 h 5612"/>
                <a:gd name="T36" fmla="*/ 2147483647 w 6518"/>
                <a:gd name="T37" fmla="*/ 2147483647 h 5612"/>
                <a:gd name="T38" fmla="*/ 2147483647 w 6518"/>
                <a:gd name="T39" fmla="*/ 2147483647 h 5612"/>
                <a:gd name="T40" fmla="*/ 2147483647 w 6518"/>
                <a:gd name="T41" fmla="*/ 2147483647 h 5612"/>
                <a:gd name="T42" fmla="*/ 2147483647 w 6518"/>
                <a:gd name="T43" fmla="*/ 2147483647 h 5612"/>
                <a:gd name="T44" fmla="*/ 2147483647 w 6518"/>
                <a:gd name="T45" fmla="*/ 2147483647 h 5612"/>
                <a:gd name="T46" fmla="*/ 2147483647 w 6518"/>
                <a:gd name="T47" fmla="*/ 2147483647 h 5612"/>
                <a:gd name="T48" fmla="*/ 2147483647 w 6518"/>
                <a:gd name="T49" fmla="*/ 2147483647 h 5612"/>
                <a:gd name="T50" fmla="*/ 2147483647 w 6518"/>
                <a:gd name="T51" fmla="*/ 2147483647 h 5612"/>
                <a:gd name="T52" fmla="*/ 2147483647 w 6518"/>
                <a:gd name="T53" fmla="*/ 2147483647 h 5612"/>
                <a:gd name="T54" fmla="*/ 2147483647 w 6518"/>
                <a:gd name="T55" fmla="*/ 2147483647 h 5612"/>
                <a:gd name="T56" fmla="*/ 2147483647 w 6518"/>
                <a:gd name="T57" fmla="*/ 2147483647 h 5612"/>
                <a:gd name="T58" fmla="*/ 2147483647 w 6518"/>
                <a:gd name="T59" fmla="*/ 2147483647 h 5612"/>
                <a:gd name="T60" fmla="*/ 2147483647 w 6518"/>
                <a:gd name="T61" fmla="*/ 2147483647 h 5612"/>
                <a:gd name="T62" fmla="*/ 2147483647 w 6518"/>
                <a:gd name="T63" fmla="*/ 2147483647 h 5612"/>
                <a:gd name="T64" fmla="*/ 2147483647 w 6518"/>
                <a:gd name="T65" fmla="*/ 2147483647 h 5612"/>
                <a:gd name="T66" fmla="*/ 2147483647 w 6518"/>
                <a:gd name="T67" fmla="*/ 2147483647 h 5612"/>
                <a:gd name="T68" fmla="*/ 2147483647 w 6518"/>
                <a:gd name="T69" fmla="*/ 2147483647 h 5612"/>
                <a:gd name="T70" fmla="*/ 2147483647 w 6518"/>
                <a:gd name="T71" fmla="*/ 2147483647 h 5612"/>
                <a:gd name="T72" fmla="*/ 2147483647 w 6518"/>
                <a:gd name="T73" fmla="*/ 2147483647 h 5612"/>
                <a:gd name="T74" fmla="*/ 2147483647 w 6518"/>
                <a:gd name="T75" fmla="*/ 2147483647 h 5612"/>
                <a:gd name="T76" fmla="*/ 2147483647 w 6518"/>
                <a:gd name="T77" fmla="*/ 2147483647 h 5612"/>
                <a:gd name="T78" fmla="*/ 2147483647 w 6518"/>
                <a:gd name="T79" fmla="*/ 2147483647 h 5612"/>
                <a:gd name="T80" fmla="*/ 2147483647 w 6518"/>
                <a:gd name="T81" fmla="*/ 2147483647 h 5612"/>
                <a:gd name="T82" fmla="*/ 2147483647 w 6518"/>
                <a:gd name="T83" fmla="*/ 2147483647 h 5612"/>
                <a:gd name="T84" fmla="*/ 2147483647 w 6518"/>
                <a:gd name="T85" fmla="*/ 2147483647 h 5612"/>
                <a:gd name="T86" fmla="*/ 2147483647 w 6518"/>
                <a:gd name="T87" fmla="*/ 2147483647 h 5612"/>
                <a:gd name="T88" fmla="*/ 2147483647 w 6518"/>
                <a:gd name="T89" fmla="*/ 2147483647 h 5612"/>
                <a:gd name="T90" fmla="*/ 2147483647 w 6518"/>
                <a:gd name="T91" fmla="*/ 2147483647 h 5612"/>
                <a:gd name="T92" fmla="*/ 2147483647 w 6518"/>
                <a:gd name="T93" fmla="*/ 2147483647 h 5612"/>
                <a:gd name="T94" fmla="*/ 2147483647 w 6518"/>
                <a:gd name="T95" fmla="*/ 2147483647 h 5612"/>
                <a:gd name="T96" fmla="*/ 2147483647 w 6518"/>
                <a:gd name="T97" fmla="*/ 2147483647 h 5612"/>
                <a:gd name="T98" fmla="*/ 2147483647 w 6518"/>
                <a:gd name="T99" fmla="*/ 2147483647 h 5612"/>
                <a:gd name="T100" fmla="*/ 2147483647 w 6518"/>
                <a:gd name="T101" fmla="*/ 2147483647 h 5612"/>
                <a:gd name="T102" fmla="*/ 2147483647 w 6518"/>
                <a:gd name="T103" fmla="*/ 2147483647 h 5612"/>
                <a:gd name="T104" fmla="*/ 2147483647 w 6518"/>
                <a:gd name="T105" fmla="*/ 2147483647 h 5612"/>
                <a:gd name="T106" fmla="*/ 2147483647 w 6518"/>
                <a:gd name="T107" fmla="*/ 2147483647 h 56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518"/>
                <a:gd name="T163" fmla="*/ 0 h 5612"/>
                <a:gd name="T164" fmla="*/ 6518 w 6518"/>
                <a:gd name="T165" fmla="*/ 5612 h 56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518" h="5612">
                  <a:moveTo>
                    <a:pt x="3980" y="5317"/>
                  </a:moveTo>
                  <a:lnTo>
                    <a:pt x="2254" y="5304"/>
                  </a:lnTo>
                  <a:lnTo>
                    <a:pt x="2254" y="1702"/>
                  </a:lnTo>
                  <a:lnTo>
                    <a:pt x="2253" y="1686"/>
                  </a:lnTo>
                  <a:lnTo>
                    <a:pt x="2251" y="1671"/>
                  </a:lnTo>
                  <a:lnTo>
                    <a:pt x="2248" y="1656"/>
                  </a:lnTo>
                  <a:lnTo>
                    <a:pt x="2245" y="1642"/>
                  </a:lnTo>
                  <a:lnTo>
                    <a:pt x="2241" y="1630"/>
                  </a:lnTo>
                  <a:lnTo>
                    <a:pt x="2236" y="1619"/>
                  </a:lnTo>
                  <a:lnTo>
                    <a:pt x="2231" y="1609"/>
                  </a:lnTo>
                  <a:lnTo>
                    <a:pt x="2226" y="1600"/>
                  </a:lnTo>
                  <a:lnTo>
                    <a:pt x="2220" y="1592"/>
                  </a:lnTo>
                  <a:lnTo>
                    <a:pt x="2213" y="1586"/>
                  </a:lnTo>
                  <a:lnTo>
                    <a:pt x="2206" y="1579"/>
                  </a:lnTo>
                  <a:lnTo>
                    <a:pt x="2199" y="1574"/>
                  </a:lnTo>
                  <a:lnTo>
                    <a:pt x="2192" y="1571"/>
                  </a:lnTo>
                  <a:lnTo>
                    <a:pt x="2185" y="1568"/>
                  </a:lnTo>
                  <a:lnTo>
                    <a:pt x="2178" y="1567"/>
                  </a:lnTo>
                  <a:lnTo>
                    <a:pt x="2171" y="1567"/>
                  </a:lnTo>
                  <a:lnTo>
                    <a:pt x="2164" y="1567"/>
                  </a:lnTo>
                  <a:lnTo>
                    <a:pt x="2157" y="1569"/>
                  </a:lnTo>
                  <a:lnTo>
                    <a:pt x="2150" y="1572"/>
                  </a:lnTo>
                  <a:lnTo>
                    <a:pt x="2144" y="1576"/>
                  </a:lnTo>
                  <a:lnTo>
                    <a:pt x="2137" y="1581"/>
                  </a:lnTo>
                  <a:lnTo>
                    <a:pt x="2130" y="1588"/>
                  </a:lnTo>
                  <a:lnTo>
                    <a:pt x="2124" y="1595"/>
                  </a:lnTo>
                  <a:lnTo>
                    <a:pt x="2119" y="1604"/>
                  </a:lnTo>
                  <a:lnTo>
                    <a:pt x="2114" y="1613"/>
                  </a:lnTo>
                  <a:lnTo>
                    <a:pt x="2109" y="1623"/>
                  </a:lnTo>
                  <a:lnTo>
                    <a:pt x="2105" y="1635"/>
                  </a:lnTo>
                  <a:lnTo>
                    <a:pt x="2102" y="1648"/>
                  </a:lnTo>
                  <a:lnTo>
                    <a:pt x="2100" y="1662"/>
                  </a:lnTo>
                  <a:lnTo>
                    <a:pt x="2098" y="1677"/>
                  </a:lnTo>
                  <a:lnTo>
                    <a:pt x="2097" y="1693"/>
                  </a:lnTo>
                  <a:lnTo>
                    <a:pt x="2096" y="1710"/>
                  </a:lnTo>
                  <a:lnTo>
                    <a:pt x="2109" y="3618"/>
                  </a:lnTo>
                  <a:lnTo>
                    <a:pt x="2111" y="3751"/>
                  </a:lnTo>
                  <a:lnTo>
                    <a:pt x="2111" y="3855"/>
                  </a:lnTo>
                  <a:lnTo>
                    <a:pt x="2110" y="3878"/>
                  </a:lnTo>
                  <a:lnTo>
                    <a:pt x="2109" y="3898"/>
                  </a:lnTo>
                  <a:lnTo>
                    <a:pt x="2107" y="3918"/>
                  </a:lnTo>
                  <a:lnTo>
                    <a:pt x="2104" y="3936"/>
                  </a:lnTo>
                  <a:lnTo>
                    <a:pt x="2101" y="3954"/>
                  </a:lnTo>
                  <a:lnTo>
                    <a:pt x="2097" y="3971"/>
                  </a:lnTo>
                  <a:lnTo>
                    <a:pt x="2092" y="3986"/>
                  </a:lnTo>
                  <a:lnTo>
                    <a:pt x="2086" y="4001"/>
                  </a:lnTo>
                  <a:lnTo>
                    <a:pt x="2079" y="4015"/>
                  </a:lnTo>
                  <a:lnTo>
                    <a:pt x="2070" y="4028"/>
                  </a:lnTo>
                  <a:lnTo>
                    <a:pt x="2060" y="4043"/>
                  </a:lnTo>
                  <a:lnTo>
                    <a:pt x="2050" y="4055"/>
                  </a:lnTo>
                  <a:lnTo>
                    <a:pt x="2038" y="4068"/>
                  </a:lnTo>
                  <a:lnTo>
                    <a:pt x="2024" y="4080"/>
                  </a:lnTo>
                  <a:lnTo>
                    <a:pt x="2009" y="4093"/>
                  </a:lnTo>
                  <a:lnTo>
                    <a:pt x="1993" y="4105"/>
                  </a:lnTo>
                  <a:lnTo>
                    <a:pt x="1974" y="4118"/>
                  </a:lnTo>
                  <a:lnTo>
                    <a:pt x="1954" y="4131"/>
                  </a:lnTo>
                  <a:lnTo>
                    <a:pt x="1932" y="4144"/>
                  </a:lnTo>
                  <a:lnTo>
                    <a:pt x="1908" y="4157"/>
                  </a:lnTo>
                  <a:lnTo>
                    <a:pt x="1855" y="4187"/>
                  </a:lnTo>
                  <a:lnTo>
                    <a:pt x="1792" y="4218"/>
                  </a:lnTo>
                  <a:lnTo>
                    <a:pt x="1542" y="4342"/>
                  </a:lnTo>
                  <a:lnTo>
                    <a:pt x="1388" y="4396"/>
                  </a:lnTo>
                  <a:lnTo>
                    <a:pt x="1242" y="4441"/>
                  </a:lnTo>
                  <a:lnTo>
                    <a:pt x="1103" y="4474"/>
                  </a:lnTo>
                  <a:lnTo>
                    <a:pt x="973" y="4498"/>
                  </a:lnTo>
                  <a:lnTo>
                    <a:pt x="849" y="4512"/>
                  </a:lnTo>
                  <a:lnTo>
                    <a:pt x="733" y="4517"/>
                  </a:lnTo>
                  <a:lnTo>
                    <a:pt x="626" y="4514"/>
                  </a:lnTo>
                  <a:lnTo>
                    <a:pt x="527" y="4503"/>
                  </a:lnTo>
                  <a:lnTo>
                    <a:pt x="435" y="4484"/>
                  </a:lnTo>
                  <a:lnTo>
                    <a:pt x="353" y="4460"/>
                  </a:lnTo>
                  <a:lnTo>
                    <a:pt x="278" y="4430"/>
                  </a:lnTo>
                  <a:lnTo>
                    <a:pt x="213" y="4393"/>
                  </a:lnTo>
                  <a:lnTo>
                    <a:pt x="155" y="4352"/>
                  </a:lnTo>
                  <a:lnTo>
                    <a:pt x="107" y="4306"/>
                  </a:lnTo>
                  <a:lnTo>
                    <a:pt x="67" y="4257"/>
                  </a:lnTo>
                  <a:lnTo>
                    <a:pt x="37" y="4205"/>
                  </a:lnTo>
                  <a:lnTo>
                    <a:pt x="16" y="4149"/>
                  </a:lnTo>
                  <a:lnTo>
                    <a:pt x="3" y="4091"/>
                  </a:lnTo>
                  <a:lnTo>
                    <a:pt x="0" y="4033"/>
                  </a:lnTo>
                  <a:lnTo>
                    <a:pt x="6" y="3973"/>
                  </a:lnTo>
                  <a:lnTo>
                    <a:pt x="22" y="3912"/>
                  </a:lnTo>
                  <a:lnTo>
                    <a:pt x="47" y="3852"/>
                  </a:lnTo>
                  <a:lnTo>
                    <a:pt x="82" y="3792"/>
                  </a:lnTo>
                  <a:lnTo>
                    <a:pt x="127" y="3735"/>
                  </a:lnTo>
                  <a:lnTo>
                    <a:pt x="182" y="3678"/>
                  </a:lnTo>
                  <a:lnTo>
                    <a:pt x="247" y="3623"/>
                  </a:lnTo>
                  <a:lnTo>
                    <a:pt x="322" y="3573"/>
                  </a:lnTo>
                  <a:lnTo>
                    <a:pt x="406" y="3525"/>
                  </a:lnTo>
                  <a:lnTo>
                    <a:pt x="502" y="3481"/>
                  </a:lnTo>
                  <a:lnTo>
                    <a:pt x="608" y="3442"/>
                  </a:lnTo>
                  <a:lnTo>
                    <a:pt x="724" y="3408"/>
                  </a:lnTo>
                  <a:lnTo>
                    <a:pt x="851" y="3380"/>
                  </a:lnTo>
                  <a:lnTo>
                    <a:pt x="891" y="3359"/>
                  </a:lnTo>
                  <a:lnTo>
                    <a:pt x="938" y="3332"/>
                  </a:lnTo>
                  <a:lnTo>
                    <a:pt x="979" y="3308"/>
                  </a:lnTo>
                  <a:lnTo>
                    <a:pt x="996" y="3297"/>
                  </a:lnTo>
                  <a:lnTo>
                    <a:pt x="1012" y="3285"/>
                  </a:lnTo>
                  <a:lnTo>
                    <a:pt x="1026" y="3274"/>
                  </a:lnTo>
                  <a:lnTo>
                    <a:pt x="1040" y="3263"/>
                  </a:lnTo>
                  <a:lnTo>
                    <a:pt x="1051" y="3252"/>
                  </a:lnTo>
                  <a:lnTo>
                    <a:pt x="1061" y="3241"/>
                  </a:lnTo>
                  <a:lnTo>
                    <a:pt x="1070" y="3230"/>
                  </a:lnTo>
                  <a:lnTo>
                    <a:pt x="1078" y="3219"/>
                  </a:lnTo>
                  <a:lnTo>
                    <a:pt x="1084" y="3208"/>
                  </a:lnTo>
                  <a:lnTo>
                    <a:pt x="1090" y="3196"/>
                  </a:lnTo>
                  <a:lnTo>
                    <a:pt x="1095" y="3184"/>
                  </a:lnTo>
                  <a:lnTo>
                    <a:pt x="1099" y="3171"/>
                  </a:lnTo>
                  <a:lnTo>
                    <a:pt x="1102" y="3159"/>
                  </a:lnTo>
                  <a:lnTo>
                    <a:pt x="1104" y="3145"/>
                  </a:lnTo>
                  <a:lnTo>
                    <a:pt x="1105" y="3131"/>
                  </a:lnTo>
                  <a:lnTo>
                    <a:pt x="1107" y="3117"/>
                  </a:lnTo>
                  <a:lnTo>
                    <a:pt x="1107" y="3085"/>
                  </a:lnTo>
                  <a:lnTo>
                    <a:pt x="1106" y="3050"/>
                  </a:lnTo>
                  <a:lnTo>
                    <a:pt x="1102" y="2966"/>
                  </a:lnTo>
                  <a:lnTo>
                    <a:pt x="1099" y="2861"/>
                  </a:lnTo>
                  <a:lnTo>
                    <a:pt x="1077" y="1245"/>
                  </a:lnTo>
                  <a:lnTo>
                    <a:pt x="1077" y="1042"/>
                  </a:lnTo>
                  <a:lnTo>
                    <a:pt x="1077" y="1028"/>
                  </a:lnTo>
                  <a:lnTo>
                    <a:pt x="1077" y="1001"/>
                  </a:lnTo>
                  <a:lnTo>
                    <a:pt x="1079" y="975"/>
                  </a:lnTo>
                  <a:lnTo>
                    <a:pt x="1083" y="949"/>
                  </a:lnTo>
                  <a:lnTo>
                    <a:pt x="1088" y="924"/>
                  </a:lnTo>
                  <a:lnTo>
                    <a:pt x="1094" y="900"/>
                  </a:lnTo>
                  <a:lnTo>
                    <a:pt x="1101" y="875"/>
                  </a:lnTo>
                  <a:lnTo>
                    <a:pt x="1110" y="853"/>
                  </a:lnTo>
                  <a:lnTo>
                    <a:pt x="1119" y="832"/>
                  </a:lnTo>
                  <a:lnTo>
                    <a:pt x="1179" y="722"/>
                  </a:lnTo>
                  <a:lnTo>
                    <a:pt x="1260" y="621"/>
                  </a:lnTo>
                  <a:lnTo>
                    <a:pt x="1360" y="529"/>
                  </a:lnTo>
                  <a:lnTo>
                    <a:pt x="1478" y="444"/>
                  </a:lnTo>
                  <a:lnTo>
                    <a:pt x="1611" y="366"/>
                  </a:lnTo>
                  <a:lnTo>
                    <a:pt x="1760" y="297"/>
                  </a:lnTo>
                  <a:lnTo>
                    <a:pt x="1924" y="234"/>
                  </a:lnTo>
                  <a:lnTo>
                    <a:pt x="2098" y="180"/>
                  </a:lnTo>
                  <a:lnTo>
                    <a:pt x="2285" y="133"/>
                  </a:lnTo>
                  <a:lnTo>
                    <a:pt x="2480" y="93"/>
                  </a:lnTo>
                  <a:lnTo>
                    <a:pt x="2684" y="61"/>
                  </a:lnTo>
                  <a:lnTo>
                    <a:pt x="2895" y="35"/>
                  </a:lnTo>
                  <a:lnTo>
                    <a:pt x="3111" y="16"/>
                  </a:lnTo>
                  <a:lnTo>
                    <a:pt x="3331" y="5"/>
                  </a:lnTo>
                  <a:lnTo>
                    <a:pt x="3554" y="0"/>
                  </a:lnTo>
                  <a:lnTo>
                    <a:pt x="3779" y="2"/>
                  </a:lnTo>
                  <a:lnTo>
                    <a:pt x="4003" y="11"/>
                  </a:lnTo>
                  <a:lnTo>
                    <a:pt x="4226" y="26"/>
                  </a:lnTo>
                  <a:lnTo>
                    <a:pt x="4447" y="47"/>
                  </a:lnTo>
                  <a:lnTo>
                    <a:pt x="4663" y="76"/>
                  </a:lnTo>
                  <a:lnTo>
                    <a:pt x="4874" y="109"/>
                  </a:lnTo>
                  <a:lnTo>
                    <a:pt x="5079" y="150"/>
                  </a:lnTo>
                  <a:lnTo>
                    <a:pt x="5274" y="196"/>
                  </a:lnTo>
                  <a:lnTo>
                    <a:pt x="5461" y="248"/>
                  </a:lnTo>
                  <a:lnTo>
                    <a:pt x="5637" y="307"/>
                  </a:lnTo>
                  <a:lnTo>
                    <a:pt x="5800" y="371"/>
                  </a:lnTo>
                  <a:lnTo>
                    <a:pt x="5951" y="440"/>
                  </a:lnTo>
                  <a:lnTo>
                    <a:pt x="6085" y="515"/>
                  </a:lnTo>
                  <a:lnTo>
                    <a:pt x="6204" y="596"/>
                  </a:lnTo>
                  <a:lnTo>
                    <a:pt x="6305" y="681"/>
                  </a:lnTo>
                  <a:lnTo>
                    <a:pt x="6387" y="772"/>
                  </a:lnTo>
                  <a:lnTo>
                    <a:pt x="6448" y="868"/>
                  </a:lnTo>
                  <a:lnTo>
                    <a:pt x="6456" y="880"/>
                  </a:lnTo>
                  <a:lnTo>
                    <a:pt x="6464" y="893"/>
                  </a:lnTo>
                  <a:lnTo>
                    <a:pt x="6471" y="908"/>
                  </a:lnTo>
                  <a:lnTo>
                    <a:pt x="6478" y="921"/>
                  </a:lnTo>
                  <a:lnTo>
                    <a:pt x="6484" y="936"/>
                  </a:lnTo>
                  <a:lnTo>
                    <a:pt x="6489" y="950"/>
                  </a:lnTo>
                  <a:lnTo>
                    <a:pt x="6495" y="965"/>
                  </a:lnTo>
                  <a:lnTo>
                    <a:pt x="6499" y="982"/>
                  </a:lnTo>
                  <a:lnTo>
                    <a:pt x="6503" y="998"/>
                  </a:lnTo>
                  <a:lnTo>
                    <a:pt x="6507" y="1014"/>
                  </a:lnTo>
                  <a:lnTo>
                    <a:pt x="6510" y="1031"/>
                  </a:lnTo>
                  <a:lnTo>
                    <a:pt x="6513" y="1048"/>
                  </a:lnTo>
                  <a:lnTo>
                    <a:pt x="6515" y="1066"/>
                  </a:lnTo>
                  <a:lnTo>
                    <a:pt x="6516" y="1083"/>
                  </a:lnTo>
                  <a:lnTo>
                    <a:pt x="6517" y="1101"/>
                  </a:lnTo>
                  <a:lnTo>
                    <a:pt x="6518" y="1119"/>
                  </a:lnTo>
                  <a:lnTo>
                    <a:pt x="6518" y="3372"/>
                  </a:lnTo>
                  <a:lnTo>
                    <a:pt x="5196" y="5104"/>
                  </a:lnTo>
                  <a:lnTo>
                    <a:pt x="5181" y="5149"/>
                  </a:lnTo>
                  <a:lnTo>
                    <a:pt x="5161" y="5192"/>
                  </a:lnTo>
                  <a:lnTo>
                    <a:pt x="5136" y="5234"/>
                  </a:lnTo>
                  <a:lnTo>
                    <a:pt x="5109" y="5275"/>
                  </a:lnTo>
                  <a:lnTo>
                    <a:pt x="5078" y="5313"/>
                  </a:lnTo>
                  <a:lnTo>
                    <a:pt x="5043" y="5350"/>
                  </a:lnTo>
                  <a:lnTo>
                    <a:pt x="5007" y="5384"/>
                  </a:lnTo>
                  <a:lnTo>
                    <a:pt x="4967" y="5417"/>
                  </a:lnTo>
                  <a:lnTo>
                    <a:pt x="4925" y="5447"/>
                  </a:lnTo>
                  <a:lnTo>
                    <a:pt x="4881" y="5475"/>
                  </a:lnTo>
                  <a:lnTo>
                    <a:pt x="4835" y="5501"/>
                  </a:lnTo>
                  <a:lnTo>
                    <a:pt x="4789" y="5524"/>
                  </a:lnTo>
                  <a:lnTo>
                    <a:pt x="4741" y="5545"/>
                  </a:lnTo>
                  <a:lnTo>
                    <a:pt x="4693" y="5564"/>
                  </a:lnTo>
                  <a:lnTo>
                    <a:pt x="4645" y="5579"/>
                  </a:lnTo>
                  <a:lnTo>
                    <a:pt x="4595" y="5592"/>
                  </a:lnTo>
                  <a:lnTo>
                    <a:pt x="4546" y="5601"/>
                  </a:lnTo>
                  <a:lnTo>
                    <a:pt x="4499" y="5608"/>
                  </a:lnTo>
                  <a:lnTo>
                    <a:pt x="4451" y="5612"/>
                  </a:lnTo>
                  <a:lnTo>
                    <a:pt x="4404" y="5612"/>
                  </a:lnTo>
                  <a:lnTo>
                    <a:pt x="4360" y="5609"/>
                  </a:lnTo>
                  <a:lnTo>
                    <a:pt x="4316" y="5603"/>
                  </a:lnTo>
                  <a:lnTo>
                    <a:pt x="4276" y="5594"/>
                  </a:lnTo>
                  <a:lnTo>
                    <a:pt x="4236" y="5580"/>
                  </a:lnTo>
                  <a:lnTo>
                    <a:pt x="4200" y="5564"/>
                  </a:lnTo>
                  <a:lnTo>
                    <a:pt x="4166" y="5542"/>
                  </a:lnTo>
                  <a:lnTo>
                    <a:pt x="4137" y="5518"/>
                  </a:lnTo>
                  <a:lnTo>
                    <a:pt x="4109" y="5490"/>
                  </a:lnTo>
                  <a:lnTo>
                    <a:pt x="4087" y="5457"/>
                  </a:lnTo>
                  <a:lnTo>
                    <a:pt x="4068" y="5420"/>
                  </a:lnTo>
                  <a:lnTo>
                    <a:pt x="4054" y="5379"/>
                  </a:lnTo>
                  <a:lnTo>
                    <a:pt x="4044" y="5334"/>
                  </a:lnTo>
                  <a:lnTo>
                    <a:pt x="4040" y="5305"/>
                  </a:lnTo>
                  <a:lnTo>
                    <a:pt x="4039" y="5276"/>
                  </a:lnTo>
                  <a:lnTo>
                    <a:pt x="4039" y="5245"/>
                  </a:lnTo>
                  <a:lnTo>
                    <a:pt x="4041" y="5213"/>
                  </a:lnTo>
                  <a:lnTo>
                    <a:pt x="4045" y="5180"/>
                  </a:lnTo>
                  <a:lnTo>
                    <a:pt x="4051" y="5144"/>
                  </a:lnTo>
                  <a:lnTo>
                    <a:pt x="4059" y="5107"/>
                  </a:lnTo>
                  <a:lnTo>
                    <a:pt x="4068" y="5068"/>
                  </a:lnTo>
                  <a:lnTo>
                    <a:pt x="5306" y="3521"/>
                  </a:lnTo>
                  <a:lnTo>
                    <a:pt x="5462" y="2951"/>
                  </a:lnTo>
                  <a:lnTo>
                    <a:pt x="5462" y="1667"/>
                  </a:lnTo>
                  <a:lnTo>
                    <a:pt x="5462" y="1652"/>
                  </a:lnTo>
                  <a:lnTo>
                    <a:pt x="5460" y="1640"/>
                  </a:lnTo>
                  <a:lnTo>
                    <a:pt x="5458" y="1628"/>
                  </a:lnTo>
                  <a:lnTo>
                    <a:pt x="5455" y="1617"/>
                  </a:lnTo>
                  <a:lnTo>
                    <a:pt x="5452" y="1607"/>
                  </a:lnTo>
                  <a:lnTo>
                    <a:pt x="5447" y="1598"/>
                  </a:lnTo>
                  <a:lnTo>
                    <a:pt x="5442" y="1589"/>
                  </a:lnTo>
                  <a:lnTo>
                    <a:pt x="5437" y="1581"/>
                  </a:lnTo>
                  <a:lnTo>
                    <a:pt x="5430" y="1574"/>
                  </a:lnTo>
                  <a:lnTo>
                    <a:pt x="5424" y="1569"/>
                  </a:lnTo>
                  <a:lnTo>
                    <a:pt x="5417" y="1564"/>
                  </a:lnTo>
                  <a:lnTo>
                    <a:pt x="5410" y="1560"/>
                  </a:lnTo>
                  <a:lnTo>
                    <a:pt x="5403" y="1557"/>
                  </a:lnTo>
                  <a:lnTo>
                    <a:pt x="5396" y="1554"/>
                  </a:lnTo>
                  <a:lnTo>
                    <a:pt x="5388" y="1553"/>
                  </a:lnTo>
                  <a:lnTo>
                    <a:pt x="5381" y="1553"/>
                  </a:lnTo>
                  <a:lnTo>
                    <a:pt x="5373" y="1553"/>
                  </a:lnTo>
                  <a:lnTo>
                    <a:pt x="5366" y="1554"/>
                  </a:lnTo>
                  <a:lnTo>
                    <a:pt x="5358" y="1557"/>
                  </a:lnTo>
                  <a:lnTo>
                    <a:pt x="5351" y="1560"/>
                  </a:lnTo>
                  <a:lnTo>
                    <a:pt x="5344" y="1564"/>
                  </a:lnTo>
                  <a:lnTo>
                    <a:pt x="5337" y="1568"/>
                  </a:lnTo>
                  <a:lnTo>
                    <a:pt x="5331" y="1574"/>
                  </a:lnTo>
                  <a:lnTo>
                    <a:pt x="5325" y="1580"/>
                  </a:lnTo>
                  <a:lnTo>
                    <a:pt x="5320" y="1589"/>
                  </a:lnTo>
                  <a:lnTo>
                    <a:pt x="5315" y="1597"/>
                  </a:lnTo>
                  <a:lnTo>
                    <a:pt x="5310" y="1606"/>
                  </a:lnTo>
                  <a:lnTo>
                    <a:pt x="5307" y="1616"/>
                  </a:lnTo>
                  <a:lnTo>
                    <a:pt x="5304" y="1627"/>
                  </a:lnTo>
                  <a:lnTo>
                    <a:pt x="5302" y="1639"/>
                  </a:lnTo>
                  <a:lnTo>
                    <a:pt x="5301" y="1652"/>
                  </a:lnTo>
                  <a:lnTo>
                    <a:pt x="5300" y="1666"/>
                  </a:lnTo>
                  <a:lnTo>
                    <a:pt x="5300" y="1674"/>
                  </a:lnTo>
                  <a:lnTo>
                    <a:pt x="5300" y="1682"/>
                  </a:lnTo>
                  <a:lnTo>
                    <a:pt x="5300" y="1690"/>
                  </a:lnTo>
                  <a:lnTo>
                    <a:pt x="5300" y="1698"/>
                  </a:lnTo>
                  <a:lnTo>
                    <a:pt x="5300" y="1802"/>
                  </a:lnTo>
                  <a:lnTo>
                    <a:pt x="5301" y="1911"/>
                  </a:lnTo>
                  <a:lnTo>
                    <a:pt x="5301" y="2022"/>
                  </a:lnTo>
                  <a:lnTo>
                    <a:pt x="5302" y="2137"/>
                  </a:lnTo>
                  <a:lnTo>
                    <a:pt x="5303" y="2254"/>
                  </a:lnTo>
                  <a:lnTo>
                    <a:pt x="5303" y="2373"/>
                  </a:lnTo>
                  <a:lnTo>
                    <a:pt x="5304" y="2493"/>
                  </a:lnTo>
                  <a:lnTo>
                    <a:pt x="5305" y="2614"/>
                  </a:lnTo>
                  <a:lnTo>
                    <a:pt x="5306" y="2735"/>
                  </a:lnTo>
                  <a:lnTo>
                    <a:pt x="5307" y="2855"/>
                  </a:lnTo>
                  <a:lnTo>
                    <a:pt x="5309" y="2974"/>
                  </a:lnTo>
                  <a:lnTo>
                    <a:pt x="5310" y="3091"/>
                  </a:lnTo>
                  <a:lnTo>
                    <a:pt x="5311" y="3206"/>
                  </a:lnTo>
                  <a:lnTo>
                    <a:pt x="5312" y="3318"/>
                  </a:lnTo>
                  <a:lnTo>
                    <a:pt x="5314" y="3427"/>
                  </a:lnTo>
                  <a:lnTo>
                    <a:pt x="5315" y="3531"/>
                  </a:lnTo>
                </a:path>
              </a:pathLst>
            </a:custGeom>
            <a:solidFill>
              <a:schemeClr val="bg1"/>
            </a:solidFill>
            <a:ln w="1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395" name="Freeform 14"/>
            <p:cNvSpPr>
              <a:spLocks/>
            </p:cNvSpPr>
            <p:nvPr/>
          </p:nvSpPr>
          <p:spPr bwMode="auto">
            <a:xfrm>
              <a:off x="3590925" y="3933825"/>
              <a:ext cx="515937" cy="55562"/>
            </a:xfrm>
            <a:custGeom>
              <a:avLst/>
              <a:gdLst>
                <a:gd name="T0" fmla="*/ 0 w 9105"/>
                <a:gd name="T1" fmla="*/ 2147483647 h 968"/>
                <a:gd name="T2" fmla="*/ 2147483647 w 9105"/>
                <a:gd name="T3" fmla="*/ 2147483647 h 968"/>
                <a:gd name="T4" fmla="*/ 2147483647 w 9105"/>
                <a:gd name="T5" fmla="*/ 0 h 968"/>
                <a:gd name="T6" fmla="*/ 0 60000 65536"/>
                <a:gd name="T7" fmla="*/ 0 60000 65536"/>
                <a:gd name="T8" fmla="*/ 0 60000 65536"/>
                <a:gd name="T9" fmla="*/ 0 w 9105"/>
                <a:gd name="T10" fmla="*/ 0 h 968"/>
                <a:gd name="T11" fmla="*/ 9105 w 9105"/>
                <a:gd name="T12" fmla="*/ 968 h 9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105" h="968">
                  <a:moveTo>
                    <a:pt x="0" y="964"/>
                  </a:moveTo>
                  <a:lnTo>
                    <a:pt x="6213" y="968"/>
                  </a:lnTo>
                  <a:lnTo>
                    <a:pt x="9105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96" name="Freeform 15"/>
            <p:cNvSpPr>
              <a:spLocks/>
            </p:cNvSpPr>
            <p:nvPr/>
          </p:nvSpPr>
          <p:spPr bwMode="auto">
            <a:xfrm>
              <a:off x="3417888" y="3551238"/>
              <a:ext cx="146050" cy="314325"/>
            </a:xfrm>
            <a:custGeom>
              <a:avLst/>
              <a:gdLst>
                <a:gd name="T0" fmla="*/ 0 w 2567"/>
                <a:gd name="T1" fmla="*/ 0 h 5557"/>
                <a:gd name="T2" fmla="*/ 2147483647 w 2567"/>
                <a:gd name="T3" fmla="*/ 2147483647 h 5557"/>
                <a:gd name="T4" fmla="*/ 2147483647 w 2567"/>
                <a:gd name="T5" fmla="*/ 2147483647 h 5557"/>
                <a:gd name="T6" fmla="*/ 2147483647 w 2567"/>
                <a:gd name="T7" fmla="*/ 2147483647 h 555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67"/>
                <a:gd name="T13" fmla="*/ 0 h 5557"/>
                <a:gd name="T14" fmla="*/ 2567 w 2567"/>
                <a:gd name="T15" fmla="*/ 5557 h 555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67" h="5557">
                  <a:moveTo>
                    <a:pt x="0" y="0"/>
                  </a:moveTo>
                  <a:lnTo>
                    <a:pt x="1517" y="661"/>
                  </a:lnTo>
                  <a:lnTo>
                    <a:pt x="2567" y="4780"/>
                  </a:lnTo>
                  <a:lnTo>
                    <a:pt x="2023" y="5557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97" name="Freeform 16"/>
            <p:cNvSpPr>
              <a:spLocks/>
            </p:cNvSpPr>
            <p:nvPr/>
          </p:nvSpPr>
          <p:spPr bwMode="auto">
            <a:xfrm>
              <a:off x="3433763" y="3570288"/>
              <a:ext cx="120650" cy="265112"/>
            </a:xfrm>
            <a:custGeom>
              <a:avLst/>
              <a:gdLst>
                <a:gd name="T0" fmla="*/ 0 w 2138"/>
                <a:gd name="T1" fmla="*/ 0 h 4664"/>
                <a:gd name="T2" fmla="*/ 2147483647 w 2138"/>
                <a:gd name="T3" fmla="*/ 2147483647 h 4664"/>
                <a:gd name="T4" fmla="*/ 2147483647 w 2138"/>
                <a:gd name="T5" fmla="*/ 2147483647 h 4664"/>
                <a:gd name="T6" fmla="*/ 2147483647 w 2138"/>
                <a:gd name="T7" fmla="*/ 2147483647 h 4664"/>
                <a:gd name="T8" fmla="*/ 0 w 2138"/>
                <a:gd name="T9" fmla="*/ 0 h 46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38"/>
                <a:gd name="T16" fmla="*/ 0 h 4664"/>
                <a:gd name="T17" fmla="*/ 2138 w 2138"/>
                <a:gd name="T18" fmla="*/ 4664 h 46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38" h="4664">
                  <a:moveTo>
                    <a:pt x="0" y="0"/>
                  </a:moveTo>
                  <a:lnTo>
                    <a:pt x="1788" y="4664"/>
                  </a:lnTo>
                  <a:lnTo>
                    <a:pt x="2138" y="4353"/>
                  </a:lnTo>
                  <a:lnTo>
                    <a:pt x="1089" y="3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398" name="Freeform 17"/>
            <p:cNvSpPr>
              <a:spLocks/>
            </p:cNvSpPr>
            <p:nvPr/>
          </p:nvSpPr>
          <p:spPr bwMode="auto">
            <a:xfrm>
              <a:off x="3513138" y="3884613"/>
              <a:ext cx="198437" cy="79375"/>
            </a:xfrm>
            <a:custGeom>
              <a:avLst/>
              <a:gdLst>
                <a:gd name="T0" fmla="*/ 0 w 3501"/>
                <a:gd name="T1" fmla="*/ 2147483647 h 1385"/>
                <a:gd name="T2" fmla="*/ 2147483647 w 3501"/>
                <a:gd name="T3" fmla="*/ 2147483647 h 1385"/>
                <a:gd name="T4" fmla="*/ 2147483647 w 3501"/>
                <a:gd name="T5" fmla="*/ 2147483647 h 1385"/>
                <a:gd name="T6" fmla="*/ 2147483647 w 3501"/>
                <a:gd name="T7" fmla="*/ 0 h 1385"/>
                <a:gd name="T8" fmla="*/ 0 w 3501"/>
                <a:gd name="T9" fmla="*/ 2147483647 h 13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01"/>
                <a:gd name="T16" fmla="*/ 0 h 1385"/>
                <a:gd name="T17" fmla="*/ 3501 w 3501"/>
                <a:gd name="T18" fmla="*/ 1385 h 13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01" h="1385">
                  <a:moveTo>
                    <a:pt x="0" y="122"/>
                  </a:moveTo>
                  <a:lnTo>
                    <a:pt x="209" y="1184"/>
                  </a:lnTo>
                  <a:lnTo>
                    <a:pt x="3501" y="1385"/>
                  </a:lnTo>
                  <a:lnTo>
                    <a:pt x="1236" y="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99" name="Freeform 18"/>
            <p:cNvSpPr>
              <a:spLocks/>
            </p:cNvSpPr>
            <p:nvPr/>
          </p:nvSpPr>
          <p:spPr bwMode="auto">
            <a:xfrm>
              <a:off x="3513138" y="3884613"/>
              <a:ext cx="198437" cy="79375"/>
            </a:xfrm>
            <a:custGeom>
              <a:avLst/>
              <a:gdLst>
                <a:gd name="T0" fmla="*/ 0 w 3501"/>
                <a:gd name="T1" fmla="*/ 2147483647 h 1385"/>
                <a:gd name="T2" fmla="*/ 2147483647 w 3501"/>
                <a:gd name="T3" fmla="*/ 2147483647 h 1385"/>
                <a:gd name="T4" fmla="*/ 2147483647 w 3501"/>
                <a:gd name="T5" fmla="*/ 2147483647 h 1385"/>
                <a:gd name="T6" fmla="*/ 2147483647 w 3501"/>
                <a:gd name="T7" fmla="*/ 0 h 1385"/>
                <a:gd name="T8" fmla="*/ 0 w 3501"/>
                <a:gd name="T9" fmla="*/ 2147483647 h 13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01"/>
                <a:gd name="T16" fmla="*/ 0 h 1385"/>
                <a:gd name="T17" fmla="*/ 3501 w 3501"/>
                <a:gd name="T18" fmla="*/ 1385 h 13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01" h="1385">
                  <a:moveTo>
                    <a:pt x="0" y="122"/>
                  </a:moveTo>
                  <a:lnTo>
                    <a:pt x="209" y="1184"/>
                  </a:lnTo>
                  <a:lnTo>
                    <a:pt x="3501" y="1385"/>
                  </a:lnTo>
                  <a:lnTo>
                    <a:pt x="1236" y="0"/>
                  </a:lnTo>
                  <a:lnTo>
                    <a:pt x="0" y="122"/>
                  </a:lnTo>
                  <a:close/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0" name="Freeform 19"/>
            <p:cNvSpPr>
              <a:spLocks/>
            </p:cNvSpPr>
            <p:nvPr/>
          </p:nvSpPr>
          <p:spPr bwMode="auto">
            <a:xfrm>
              <a:off x="3527425" y="3886200"/>
              <a:ext cx="195262" cy="98425"/>
            </a:xfrm>
            <a:custGeom>
              <a:avLst/>
              <a:gdLst>
                <a:gd name="T0" fmla="*/ 0 w 3439"/>
                <a:gd name="T1" fmla="*/ 2147483647 h 1731"/>
                <a:gd name="T2" fmla="*/ 2147483647 w 3439"/>
                <a:gd name="T3" fmla="*/ 2147483647 h 1731"/>
                <a:gd name="T4" fmla="*/ 2147483647 w 3439"/>
                <a:gd name="T5" fmla="*/ 2147483647 h 1731"/>
                <a:gd name="T6" fmla="*/ 2147483647 w 3439"/>
                <a:gd name="T7" fmla="*/ 2147483647 h 1731"/>
                <a:gd name="T8" fmla="*/ 2147483647 w 3439"/>
                <a:gd name="T9" fmla="*/ 2147483647 h 1731"/>
                <a:gd name="T10" fmla="*/ 2147483647 w 3439"/>
                <a:gd name="T11" fmla="*/ 0 h 17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9"/>
                <a:gd name="T19" fmla="*/ 0 h 1731"/>
                <a:gd name="T20" fmla="*/ 3439 w 3439"/>
                <a:gd name="T21" fmla="*/ 1731 h 17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9" h="1731">
                  <a:moveTo>
                    <a:pt x="0" y="1169"/>
                  </a:moveTo>
                  <a:lnTo>
                    <a:pt x="12" y="1647"/>
                  </a:lnTo>
                  <a:lnTo>
                    <a:pt x="3398" y="1731"/>
                  </a:lnTo>
                  <a:lnTo>
                    <a:pt x="3439" y="1347"/>
                  </a:lnTo>
                  <a:lnTo>
                    <a:pt x="1363" y="130"/>
                  </a:lnTo>
                  <a:lnTo>
                    <a:pt x="1060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1" name="Freeform 20"/>
            <p:cNvSpPr>
              <a:spLocks/>
            </p:cNvSpPr>
            <p:nvPr/>
          </p:nvSpPr>
          <p:spPr bwMode="auto">
            <a:xfrm>
              <a:off x="3543300" y="3940175"/>
              <a:ext cx="28575" cy="11112"/>
            </a:xfrm>
            <a:custGeom>
              <a:avLst/>
              <a:gdLst>
                <a:gd name="T0" fmla="*/ 0 w 511"/>
                <a:gd name="T1" fmla="*/ 2147483647 h 187"/>
                <a:gd name="T2" fmla="*/ 2147483647 w 511"/>
                <a:gd name="T3" fmla="*/ 2147483647 h 187"/>
                <a:gd name="T4" fmla="*/ 2147483647 w 511"/>
                <a:gd name="T5" fmla="*/ 2147483647 h 187"/>
                <a:gd name="T6" fmla="*/ 2147483647 w 511"/>
                <a:gd name="T7" fmla="*/ 0 h 18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1"/>
                <a:gd name="T13" fmla="*/ 0 h 187"/>
                <a:gd name="T14" fmla="*/ 511 w 511"/>
                <a:gd name="T15" fmla="*/ 187 h 18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1" h="187">
                  <a:moveTo>
                    <a:pt x="0" y="154"/>
                  </a:moveTo>
                  <a:lnTo>
                    <a:pt x="511" y="187"/>
                  </a:lnTo>
                  <a:lnTo>
                    <a:pt x="351" y="17"/>
                  </a:lnTo>
                  <a:lnTo>
                    <a:pt x="78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2" name="Freeform 21"/>
            <p:cNvSpPr>
              <a:spLocks/>
            </p:cNvSpPr>
            <p:nvPr/>
          </p:nvSpPr>
          <p:spPr bwMode="auto">
            <a:xfrm>
              <a:off x="3578225" y="3941763"/>
              <a:ext cx="28575" cy="11112"/>
            </a:xfrm>
            <a:custGeom>
              <a:avLst/>
              <a:gdLst>
                <a:gd name="T0" fmla="*/ 0 w 511"/>
                <a:gd name="T1" fmla="*/ 2147483647 h 188"/>
                <a:gd name="T2" fmla="*/ 2147483647 w 511"/>
                <a:gd name="T3" fmla="*/ 2147483647 h 188"/>
                <a:gd name="T4" fmla="*/ 2147483647 w 511"/>
                <a:gd name="T5" fmla="*/ 2147483647 h 188"/>
                <a:gd name="T6" fmla="*/ 2147483647 w 511"/>
                <a:gd name="T7" fmla="*/ 0 h 1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1"/>
                <a:gd name="T13" fmla="*/ 0 h 188"/>
                <a:gd name="T14" fmla="*/ 511 w 511"/>
                <a:gd name="T15" fmla="*/ 188 h 1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1" h="188">
                  <a:moveTo>
                    <a:pt x="0" y="154"/>
                  </a:moveTo>
                  <a:lnTo>
                    <a:pt x="511" y="188"/>
                  </a:lnTo>
                  <a:lnTo>
                    <a:pt x="350" y="18"/>
                  </a:lnTo>
                  <a:lnTo>
                    <a:pt x="78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3" name="Freeform 22"/>
            <p:cNvSpPr>
              <a:spLocks/>
            </p:cNvSpPr>
            <p:nvPr/>
          </p:nvSpPr>
          <p:spPr bwMode="auto">
            <a:xfrm>
              <a:off x="3614738" y="3944938"/>
              <a:ext cx="28575" cy="11112"/>
            </a:xfrm>
            <a:custGeom>
              <a:avLst/>
              <a:gdLst>
                <a:gd name="T0" fmla="*/ 0 w 512"/>
                <a:gd name="T1" fmla="*/ 2147483647 h 188"/>
                <a:gd name="T2" fmla="*/ 2147483647 w 512"/>
                <a:gd name="T3" fmla="*/ 2147483647 h 188"/>
                <a:gd name="T4" fmla="*/ 2147483647 w 512"/>
                <a:gd name="T5" fmla="*/ 2147483647 h 188"/>
                <a:gd name="T6" fmla="*/ 2147483647 w 512"/>
                <a:gd name="T7" fmla="*/ 0 h 1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2"/>
                <a:gd name="T13" fmla="*/ 0 h 188"/>
                <a:gd name="T14" fmla="*/ 512 w 512"/>
                <a:gd name="T15" fmla="*/ 188 h 1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2" h="188">
                  <a:moveTo>
                    <a:pt x="0" y="154"/>
                  </a:moveTo>
                  <a:lnTo>
                    <a:pt x="512" y="188"/>
                  </a:lnTo>
                  <a:lnTo>
                    <a:pt x="352" y="17"/>
                  </a:lnTo>
                  <a:lnTo>
                    <a:pt x="78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4" name="Freeform 23"/>
            <p:cNvSpPr>
              <a:spLocks/>
            </p:cNvSpPr>
            <p:nvPr/>
          </p:nvSpPr>
          <p:spPr bwMode="auto">
            <a:xfrm>
              <a:off x="3648075" y="3946525"/>
              <a:ext cx="38100" cy="11112"/>
            </a:xfrm>
            <a:custGeom>
              <a:avLst/>
              <a:gdLst>
                <a:gd name="T0" fmla="*/ 0 w 672"/>
                <a:gd name="T1" fmla="*/ 2147483647 h 197"/>
                <a:gd name="T2" fmla="*/ 2147483647 w 672"/>
                <a:gd name="T3" fmla="*/ 2147483647 h 197"/>
                <a:gd name="T4" fmla="*/ 2147483647 w 672"/>
                <a:gd name="T5" fmla="*/ 2147483647 h 197"/>
                <a:gd name="T6" fmla="*/ 2147483647 w 672"/>
                <a:gd name="T7" fmla="*/ 0 h 19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72"/>
                <a:gd name="T13" fmla="*/ 0 h 197"/>
                <a:gd name="T14" fmla="*/ 672 w 672"/>
                <a:gd name="T15" fmla="*/ 197 h 19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72" h="197">
                  <a:moveTo>
                    <a:pt x="0" y="154"/>
                  </a:moveTo>
                  <a:lnTo>
                    <a:pt x="672" y="197"/>
                  </a:lnTo>
                  <a:lnTo>
                    <a:pt x="422" y="18"/>
                  </a:lnTo>
                  <a:lnTo>
                    <a:pt x="78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5" name="Freeform 24"/>
            <p:cNvSpPr>
              <a:spLocks/>
            </p:cNvSpPr>
            <p:nvPr/>
          </p:nvSpPr>
          <p:spPr bwMode="auto">
            <a:xfrm>
              <a:off x="3582988" y="3898900"/>
              <a:ext cx="77787" cy="44450"/>
            </a:xfrm>
            <a:custGeom>
              <a:avLst/>
              <a:gdLst>
                <a:gd name="T0" fmla="*/ 0 w 1388"/>
                <a:gd name="T1" fmla="*/ 0 h 777"/>
                <a:gd name="T2" fmla="*/ 2147483647 w 1388"/>
                <a:gd name="T3" fmla="*/ 2147483647 h 777"/>
                <a:gd name="T4" fmla="*/ 2147483647 w 1388"/>
                <a:gd name="T5" fmla="*/ 2147483647 h 777"/>
                <a:gd name="T6" fmla="*/ 2147483647 w 1388"/>
                <a:gd name="T7" fmla="*/ 2147483647 h 77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88"/>
                <a:gd name="T13" fmla="*/ 0 h 777"/>
                <a:gd name="T14" fmla="*/ 1388 w 1388"/>
                <a:gd name="T15" fmla="*/ 777 h 77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88" h="777">
                  <a:moveTo>
                    <a:pt x="0" y="0"/>
                  </a:moveTo>
                  <a:lnTo>
                    <a:pt x="1019" y="743"/>
                  </a:lnTo>
                  <a:lnTo>
                    <a:pt x="1388" y="777"/>
                  </a:lnTo>
                  <a:lnTo>
                    <a:pt x="297" y="77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6" name="Line 25"/>
            <p:cNvSpPr>
              <a:spLocks noChangeShapeType="1"/>
            </p:cNvSpPr>
            <p:nvPr/>
          </p:nvSpPr>
          <p:spPr bwMode="auto">
            <a:xfrm>
              <a:off x="3525838" y="3900488"/>
              <a:ext cx="60325" cy="3175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7" name="Line 26"/>
            <p:cNvSpPr>
              <a:spLocks noChangeShapeType="1"/>
            </p:cNvSpPr>
            <p:nvPr/>
          </p:nvSpPr>
          <p:spPr bwMode="auto">
            <a:xfrm>
              <a:off x="3530600" y="3908425"/>
              <a:ext cx="63500" cy="3175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8" name="Freeform 27"/>
            <p:cNvSpPr>
              <a:spLocks/>
            </p:cNvSpPr>
            <p:nvPr/>
          </p:nvSpPr>
          <p:spPr bwMode="auto">
            <a:xfrm>
              <a:off x="3536950" y="3916363"/>
              <a:ext cx="61912" cy="3175"/>
            </a:xfrm>
            <a:custGeom>
              <a:avLst/>
              <a:gdLst>
                <a:gd name="T0" fmla="*/ 0 w 1114"/>
                <a:gd name="T1" fmla="*/ 0 h 51"/>
                <a:gd name="T2" fmla="*/ 2147483647 w 1114"/>
                <a:gd name="T3" fmla="*/ 2147483647 h 51"/>
                <a:gd name="T4" fmla="*/ 2147483647 w 1114"/>
                <a:gd name="T5" fmla="*/ 2147483647 h 51"/>
                <a:gd name="T6" fmla="*/ 0 60000 65536"/>
                <a:gd name="T7" fmla="*/ 0 60000 65536"/>
                <a:gd name="T8" fmla="*/ 0 60000 65536"/>
                <a:gd name="T9" fmla="*/ 0 w 1114"/>
                <a:gd name="T10" fmla="*/ 0 h 51"/>
                <a:gd name="T11" fmla="*/ 1114 w 1114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14" h="51">
                  <a:moveTo>
                    <a:pt x="0" y="0"/>
                  </a:moveTo>
                  <a:lnTo>
                    <a:pt x="593" y="28"/>
                  </a:lnTo>
                  <a:lnTo>
                    <a:pt x="1114" y="51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09" name="Line 28"/>
            <p:cNvSpPr>
              <a:spLocks noChangeShapeType="1"/>
            </p:cNvSpPr>
            <p:nvPr/>
          </p:nvSpPr>
          <p:spPr bwMode="auto">
            <a:xfrm>
              <a:off x="3543300" y="3925888"/>
              <a:ext cx="74612" cy="4762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0" name="Line 29"/>
            <p:cNvSpPr>
              <a:spLocks noChangeShapeType="1"/>
            </p:cNvSpPr>
            <p:nvPr/>
          </p:nvSpPr>
          <p:spPr bwMode="auto">
            <a:xfrm>
              <a:off x="3527425" y="3900488"/>
              <a:ext cx="12700" cy="25400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1" name="Line 30"/>
            <p:cNvSpPr>
              <a:spLocks noChangeShapeType="1"/>
            </p:cNvSpPr>
            <p:nvPr/>
          </p:nvSpPr>
          <p:spPr bwMode="auto">
            <a:xfrm>
              <a:off x="3546475" y="3902075"/>
              <a:ext cx="20637" cy="23812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2" name="Line 31"/>
            <p:cNvSpPr>
              <a:spLocks noChangeShapeType="1"/>
            </p:cNvSpPr>
            <p:nvPr/>
          </p:nvSpPr>
          <p:spPr bwMode="auto">
            <a:xfrm>
              <a:off x="3552825" y="3892550"/>
              <a:ext cx="42862" cy="36512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3" name="Line 32"/>
            <p:cNvSpPr>
              <a:spLocks noChangeShapeType="1"/>
            </p:cNvSpPr>
            <p:nvPr/>
          </p:nvSpPr>
          <p:spPr bwMode="auto">
            <a:xfrm>
              <a:off x="3565525" y="3890963"/>
              <a:ext cx="28575" cy="20637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4" name="Freeform 33"/>
            <p:cNvSpPr>
              <a:spLocks/>
            </p:cNvSpPr>
            <p:nvPr/>
          </p:nvSpPr>
          <p:spPr bwMode="auto">
            <a:xfrm>
              <a:off x="3721100" y="3956050"/>
              <a:ext cx="90487" cy="23812"/>
            </a:xfrm>
            <a:custGeom>
              <a:avLst/>
              <a:gdLst>
                <a:gd name="T0" fmla="*/ 0 w 1595"/>
                <a:gd name="T1" fmla="*/ 2147483647 h 404"/>
                <a:gd name="T2" fmla="*/ 2147483647 w 1595"/>
                <a:gd name="T3" fmla="*/ 2147483647 h 404"/>
                <a:gd name="T4" fmla="*/ 2147483647 w 1595"/>
                <a:gd name="T5" fmla="*/ 2147483647 h 404"/>
                <a:gd name="T6" fmla="*/ 2147483647 w 1595"/>
                <a:gd name="T7" fmla="*/ 2147483647 h 404"/>
                <a:gd name="T8" fmla="*/ 2147483647 w 1595"/>
                <a:gd name="T9" fmla="*/ 2147483647 h 404"/>
                <a:gd name="T10" fmla="*/ 2147483647 w 1595"/>
                <a:gd name="T11" fmla="*/ 2147483647 h 404"/>
                <a:gd name="T12" fmla="*/ 2147483647 w 1595"/>
                <a:gd name="T13" fmla="*/ 2147483647 h 404"/>
                <a:gd name="T14" fmla="*/ 2147483647 w 1595"/>
                <a:gd name="T15" fmla="*/ 2147483647 h 404"/>
                <a:gd name="T16" fmla="*/ 2147483647 w 1595"/>
                <a:gd name="T17" fmla="*/ 2147483647 h 404"/>
                <a:gd name="T18" fmla="*/ 2147483647 w 1595"/>
                <a:gd name="T19" fmla="*/ 2147483647 h 404"/>
                <a:gd name="T20" fmla="*/ 2147483647 w 1595"/>
                <a:gd name="T21" fmla="*/ 2147483647 h 404"/>
                <a:gd name="T22" fmla="*/ 2147483647 w 1595"/>
                <a:gd name="T23" fmla="*/ 2147483647 h 404"/>
                <a:gd name="T24" fmla="*/ 2147483647 w 1595"/>
                <a:gd name="T25" fmla="*/ 2147483647 h 404"/>
                <a:gd name="T26" fmla="*/ 2147483647 w 1595"/>
                <a:gd name="T27" fmla="*/ 2147483647 h 404"/>
                <a:gd name="T28" fmla="*/ 2147483647 w 1595"/>
                <a:gd name="T29" fmla="*/ 2147483647 h 404"/>
                <a:gd name="T30" fmla="*/ 2147483647 w 1595"/>
                <a:gd name="T31" fmla="*/ 2147483647 h 404"/>
                <a:gd name="T32" fmla="*/ 2147483647 w 1595"/>
                <a:gd name="T33" fmla="*/ 2147483647 h 404"/>
                <a:gd name="T34" fmla="*/ 2147483647 w 1595"/>
                <a:gd name="T35" fmla="*/ 2147483647 h 404"/>
                <a:gd name="T36" fmla="*/ 2147483647 w 1595"/>
                <a:gd name="T37" fmla="*/ 2147483647 h 404"/>
                <a:gd name="T38" fmla="*/ 2147483647 w 1595"/>
                <a:gd name="T39" fmla="*/ 2147483647 h 404"/>
                <a:gd name="T40" fmla="*/ 2147483647 w 1595"/>
                <a:gd name="T41" fmla="*/ 2147483647 h 404"/>
                <a:gd name="T42" fmla="*/ 2147483647 w 1595"/>
                <a:gd name="T43" fmla="*/ 2147483647 h 404"/>
                <a:gd name="T44" fmla="*/ 2147483647 w 1595"/>
                <a:gd name="T45" fmla="*/ 2147483647 h 404"/>
                <a:gd name="T46" fmla="*/ 2147483647 w 1595"/>
                <a:gd name="T47" fmla="*/ 2147483647 h 404"/>
                <a:gd name="T48" fmla="*/ 2147483647 w 1595"/>
                <a:gd name="T49" fmla="*/ 2147483647 h 404"/>
                <a:gd name="T50" fmla="*/ 2147483647 w 1595"/>
                <a:gd name="T51" fmla="*/ 2147483647 h 404"/>
                <a:gd name="T52" fmla="*/ 2147483647 w 1595"/>
                <a:gd name="T53" fmla="*/ 2147483647 h 404"/>
                <a:gd name="T54" fmla="*/ 2147483647 w 1595"/>
                <a:gd name="T55" fmla="*/ 2147483647 h 404"/>
                <a:gd name="T56" fmla="*/ 2147483647 w 1595"/>
                <a:gd name="T57" fmla="*/ 2147483647 h 404"/>
                <a:gd name="T58" fmla="*/ 2147483647 w 1595"/>
                <a:gd name="T59" fmla="*/ 2147483647 h 404"/>
                <a:gd name="T60" fmla="*/ 2147483647 w 1595"/>
                <a:gd name="T61" fmla="*/ 2147483647 h 404"/>
                <a:gd name="T62" fmla="*/ 2147483647 w 1595"/>
                <a:gd name="T63" fmla="*/ 2147483647 h 404"/>
                <a:gd name="T64" fmla="*/ 2147483647 w 1595"/>
                <a:gd name="T65" fmla="*/ 2147483647 h 404"/>
                <a:gd name="T66" fmla="*/ 2147483647 w 1595"/>
                <a:gd name="T67" fmla="*/ 2147483647 h 404"/>
                <a:gd name="T68" fmla="*/ 2147483647 w 1595"/>
                <a:gd name="T69" fmla="*/ 2147483647 h 404"/>
                <a:gd name="T70" fmla="*/ 2147483647 w 1595"/>
                <a:gd name="T71" fmla="*/ 2147483647 h 404"/>
                <a:gd name="T72" fmla="*/ 2147483647 w 1595"/>
                <a:gd name="T73" fmla="*/ 2147483647 h 404"/>
                <a:gd name="T74" fmla="*/ 2147483647 w 1595"/>
                <a:gd name="T75" fmla="*/ 2147483647 h 404"/>
                <a:gd name="T76" fmla="*/ 2147483647 w 1595"/>
                <a:gd name="T77" fmla="*/ 2147483647 h 404"/>
                <a:gd name="T78" fmla="*/ 2147483647 w 1595"/>
                <a:gd name="T79" fmla="*/ 2147483647 h 404"/>
                <a:gd name="T80" fmla="*/ 2147483647 w 1595"/>
                <a:gd name="T81" fmla="*/ 2147483647 h 404"/>
                <a:gd name="T82" fmla="*/ 2147483647 w 1595"/>
                <a:gd name="T83" fmla="*/ 2147483647 h 404"/>
                <a:gd name="T84" fmla="*/ 2147483647 w 1595"/>
                <a:gd name="T85" fmla="*/ 2147483647 h 404"/>
                <a:gd name="T86" fmla="*/ 2147483647 w 1595"/>
                <a:gd name="T87" fmla="*/ 0 h 404"/>
                <a:gd name="T88" fmla="*/ 2147483647 w 1595"/>
                <a:gd name="T89" fmla="*/ 2147483647 h 404"/>
                <a:gd name="T90" fmla="*/ 2147483647 w 1595"/>
                <a:gd name="T91" fmla="*/ 2147483647 h 404"/>
                <a:gd name="T92" fmla="*/ 2147483647 w 1595"/>
                <a:gd name="T93" fmla="*/ 2147483647 h 404"/>
                <a:gd name="T94" fmla="*/ 2147483647 w 1595"/>
                <a:gd name="T95" fmla="*/ 2147483647 h 404"/>
                <a:gd name="T96" fmla="*/ 2147483647 w 1595"/>
                <a:gd name="T97" fmla="*/ 2147483647 h 404"/>
                <a:gd name="T98" fmla="*/ 2147483647 w 1595"/>
                <a:gd name="T99" fmla="*/ 2147483647 h 404"/>
                <a:gd name="T100" fmla="*/ 2147483647 w 1595"/>
                <a:gd name="T101" fmla="*/ 2147483647 h 404"/>
                <a:gd name="T102" fmla="*/ 2147483647 w 1595"/>
                <a:gd name="T103" fmla="*/ 2147483647 h 404"/>
                <a:gd name="T104" fmla="*/ 2147483647 w 1595"/>
                <a:gd name="T105" fmla="*/ 2147483647 h 404"/>
                <a:gd name="T106" fmla="*/ 2147483647 w 1595"/>
                <a:gd name="T107" fmla="*/ 2147483647 h 404"/>
                <a:gd name="T108" fmla="*/ 2147483647 w 1595"/>
                <a:gd name="T109" fmla="*/ 2147483647 h 404"/>
                <a:gd name="T110" fmla="*/ 2147483647 w 1595"/>
                <a:gd name="T111" fmla="*/ 2147483647 h 404"/>
                <a:gd name="T112" fmla="*/ 2147483647 w 1595"/>
                <a:gd name="T113" fmla="*/ 2147483647 h 4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5"/>
                <a:gd name="T172" fmla="*/ 0 h 404"/>
                <a:gd name="T173" fmla="*/ 1595 w 1595"/>
                <a:gd name="T174" fmla="*/ 404 h 4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5" h="404">
                  <a:moveTo>
                    <a:pt x="0" y="318"/>
                  </a:moveTo>
                  <a:lnTo>
                    <a:pt x="6" y="320"/>
                  </a:lnTo>
                  <a:lnTo>
                    <a:pt x="23" y="328"/>
                  </a:lnTo>
                  <a:lnTo>
                    <a:pt x="51" y="338"/>
                  </a:lnTo>
                  <a:lnTo>
                    <a:pt x="88" y="351"/>
                  </a:lnTo>
                  <a:lnTo>
                    <a:pt x="110" y="358"/>
                  </a:lnTo>
                  <a:lnTo>
                    <a:pt x="133" y="366"/>
                  </a:lnTo>
                  <a:lnTo>
                    <a:pt x="158" y="373"/>
                  </a:lnTo>
                  <a:lnTo>
                    <a:pt x="186" y="379"/>
                  </a:lnTo>
                  <a:lnTo>
                    <a:pt x="214" y="385"/>
                  </a:lnTo>
                  <a:lnTo>
                    <a:pt x="244" y="391"/>
                  </a:lnTo>
                  <a:lnTo>
                    <a:pt x="276" y="396"/>
                  </a:lnTo>
                  <a:lnTo>
                    <a:pt x="308" y="400"/>
                  </a:lnTo>
                  <a:lnTo>
                    <a:pt x="343" y="402"/>
                  </a:lnTo>
                  <a:lnTo>
                    <a:pt x="377" y="404"/>
                  </a:lnTo>
                  <a:lnTo>
                    <a:pt x="413" y="404"/>
                  </a:lnTo>
                  <a:lnTo>
                    <a:pt x="449" y="403"/>
                  </a:lnTo>
                  <a:lnTo>
                    <a:pt x="486" y="400"/>
                  </a:lnTo>
                  <a:lnTo>
                    <a:pt x="523" y="395"/>
                  </a:lnTo>
                  <a:lnTo>
                    <a:pt x="562" y="389"/>
                  </a:lnTo>
                  <a:lnTo>
                    <a:pt x="599" y="380"/>
                  </a:lnTo>
                  <a:lnTo>
                    <a:pt x="638" y="369"/>
                  </a:lnTo>
                  <a:lnTo>
                    <a:pt x="675" y="354"/>
                  </a:lnTo>
                  <a:lnTo>
                    <a:pt x="714" y="338"/>
                  </a:lnTo>
                  <a:lnTo>
                    <a:pt x="751" y="319"/>
                  </a:lnTo>
                  <a:lnTo>
                    <a:pt x="789" y="297"/>
                  </a:lnTo>
                  <a:lnTo>
                    <a:pt x="826" y="271"/>
                  </a:lnTo>
                  <a:lnTo>
                    <a:pt x="862" y="243"/>
                  </a:lnTo>
                  <a:lnTo>
                    <a:pt x="898" y="211"/>
                  </a:lnTo>
                  <a:lnTo>
                    <a:pt x="933" y="178"/>
                  </a:lnTo>
                  <a:lnTo>
                    <a:pt x="967" y="149"/>
                  </a:lnTo>
                  <a:lnTo>
                    <a:pt x="1002" y="123"/>
                  </a:lnTo>
                  <a:lnTo>
                    <a:pt x="1035" y="100"/>
                  </a:lnTo>
                  <a:lnTo>
                    <a:pt x="1069" y="80"/>
                  </a:lnTo>
                  <a:lnTo>
                    <a:pt x="1101" y="63"/>
                  </a:lnTo>
                  <a:lnTo>
                    <a:pt x="1134" y="47"/>
                  </a:lnTo>
                  <a:lnTo>
                    <a:pt x="1165" y="35"/>
                  </a:lnTo>
                  <a:lnTo>
                    <a:pt x="1195" y="24"/>
                  </a:lnTo>
                  <a:lnTo>
                    <a:pt x="1226" y="16"/>
                  </a:lnTo>
                  <a:lnTo>
                    <a:pt x="1255" y="10"/>
                  </a:lnTo>
                  <a:lnTo>
                    <a:pt x="1284" y="5"/>
                  </a:lnTo>
                  <a:lnTo>
                    <a:pt x="1311" y="2"/>
                  </a:lnTo>
                  <a:lnTo>
                    <a:pt x="1337" y="1"/>
                  </a:lnTo>
                  <a:lnTo>
                    <a:pt x="1363" y="0"/>
                  </a:lnTo>
                  <a:lnTo>
                    <a:pt x="1387" y="1"/>
                  </a:lnTo>
                  <a:lnTo>
                    <a:pt x="1410" y="3"/>
                  </a:lnTo>
                  <a:lnTo>
                    <a:pt x="1433" y="6"/>
                  </a:lnTo>
                  <a:lnTo>
                    <a:pt x="1453" y="10"/>
                  </a:lnTo>
                  <a:lnTo>
                    <a:pt x="1473" y="14"/>
                  </a:lnTo>
                  <a:lnTo>
                    <a:pt x="1491" y="19"/>
                  </a:lnTo>
                  <a:lnTo>
                    <a:pt x="1509" y="24"/>
                  </a:lnTo>
                  <a:lnTo>
                    <a:pt x="1524" y="30"/>
                  </a:lnTo>
                  <a:lnTo>
                    <a:pt x="1538" y="35"/>
                  </a:lnTo>
                  <a:lnTo>
                    <a:pt x="1562" y="45"/>
                  </a:lnTo>
                  <a:lnTo>
                    <a:pt x="1580" y="54"/>
                  </a:lnTo>
                  <a:lnTo>
                    <a:pt x="1591" y="61"/>
                  </a:lnTo>
                  <a:lnTo>
                    <a:pt x="1595" y="64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5" name="Freeform 34"/>
            <p:cNvSpPr>
              <a:spLocks/>
            </p:cNvSpPr>
            <p:nvPr/>
          </p:nvSpPr>
          <p:spPr bwMode="auto">
            <a:xfrm>
              <a:off x="3808413" y="3933825"/>
              <a:ext cx="69850" cy="31750"/>
            </a:xfrm>
            <a:custGeom>
              <a:avLst/>
              <a:gdLst>
                <a:gd name="T0" fmla="*/ 2147483647 w 1257"/>
                <a:gd name="T1" fmla="*/ 2147483647 h 585"/>
                <a:gd name="T2" fmla="*/ 2147483647 w 1257"/>
                <a:gd name="T3" fmla="*/ 2147483647 h 585"/>
                <a:gd name="T4" fmla="*/ 2147483647 w 1257"/>
                <a:gd name="T5" fmla="*/ 2147483647 h 585"/>
                <a:gd name="T6" fmla="*/ 2147483647 w 1257"/>
                <a:gd name="T7" fmla="*/ 2147483647 h 585"/>
                <a:gd name="T8" fmla="*/ 2147483647 w 1257"/>
                <a:gd name="T9" fmla="*/ 2147483647 h 585"/>
                <a:gd name="T10" fmla="*/ 0 w 1257"/>
                <a:gd name="T11" fmla="*/ 2147483647 h 585"/>
                <a:gd name="T12" fmla="*/ 0 w 1257"/>
                <a:gd name="T13" fmla="*/ 2147483647 h 585"/>
                <a:gd name="T14" fmla="*/ 2147483647 w 1257"/>
                <a:gd name="T15" fmla="*/ 2147483647 h 585"/>
                <a:gd name="T16" fmla="*/ 2147483647 w 1257"/>
                <a:gd name="T17" fmla="*/ 2147483647 h 585"/>
                <a:gd name="T18" fmla="*/ 2147483647 w 1257"/>
                <a:gd name="T19" fmla="*/ 2147483647 h 585"/>
                <a:gd name="T20" fmla="*/ 2147483647 w 1257"/>
                <a:gd name="T21" fmla="*/ 2147483647 h 585"/>
                <a:gd name="T22" fmla="*/ 2147483647 w 1257"/>
                <a:gd name="T23" fmla="*/ 2147483647 h 585"/>
                <a:gd name="T24" fmla="*/ 2147483647 w 1257"/>
                <a:gd name="T25" fmla="*/ 2147483647 h 585"/>
                <a:gd name="T26" fmla="*/ 2147483647 w 1257"/>
                <a:gd name="T27" fmla="*/ 2147483647 h 585"/>
                <a:gd name="T28" fmla="*/ 2147483647 w 1257"/>
                <a:gd name="T29" fmla="*/ 2147483647 h 585"/>
                <a:gd name="T30" fmla="*/ 2147483647 w 1257"/>
                <a:gd name="T31" fmla="*/ 2147483647 h 585"/>
                <a:gd name="T32" fmla="*/ 2147483647 w 1257"/>
                <a:gd name="T33" fmla="*/ 2147483647 h 585"/>
                <a:gd name="T34" fmla="*/ 2147483647 w 1257"/>
                <a:gd name="T35" fmla="*/ 2147483647 h 585"/>
                <a:gd name="T36" fmla="*/ 2147483647 w 1257"/>
                <a:gd name="T37" fmla="*/ 2147483647 h 585"/>
                <a:gd name="T38" fmla="*/ 2147483647 w 1257"/>
                <a:gd name="T39" fmla="*/ 2147483647 h 585"/>
                <a:gd name="T40" fmla="*/ 2147483647 w 1257"/>
                <a:gd name="T41" fmla="*/ 2147483647 h 585"/>
                <a:gd name="T42" fmla="*/ 2147483647 w 1257"/>
                <a:gd name="T43" fmla="*/ 2147483647 h 585"/>
                <a:gd name="T44" fmla="*/ 2147483647 w 1257"/>
                <a:gd name="T45" fmla="*/ 2147483647 h 585"/>
                <a:gd name="T46" fmla="*/ 2147483647 w 1257"/>
                <a:gd name="T47" fmla="*/ 2147483647 h 585"/>
                <a:gd name="T48" fmla="*/ 2147483647 w 1257"/>
                <a:gd name="T49" fmla="*/ 2147483647 h 585"/>
                <a:gd name="T50" fmla="*/ 2147483647 w 1257"/>
                <a:gd name="T51" fmla="*/ 2147483647 h 585"/>
                <a:gd name="T52" fmla="*/ 2147483647 w 1257"/>
                <a:gd name="T53" fmla="*/ 2147483647 h 585"/>
                <a:gd name="T54" fmla="*/ 2147483647 w 1257"/>
                <a:gd name="T55" fmla="*/ 2147483647 h 585"/>
                <a:gd name="T56" fmla="*/ 2147483647 w 1257"/>
                <a:gd name="T57" fmla="*/ 2147483647 h 585"/>
                <a:gd name="T58" fmla="*/ 2147483647 w 1257"/>
                <a:gd name="T59" fmla="*/ 2147483647 h 585"/>
                <a:gd name="T60" fmla="*/ 2147483647 w 1257"/>
                <a:gd name="T61" fmla="*/ 2147483647 h 585"/>
                <a:gd name="T62" fmla="*/ 2147483647 w 1257"/>
                <a:gd name="T63" fmla="*/ 2147483647 h 585"/>
                <a:gd name="T64" fmla="*/ 2147483647 w 1257"/>
                <a:gd name="T65" fmla="*/ 2147483647 h 585"/>
                <a:gd name="T66" fmla="*/ 2147483647 w 1257"/>
                <a:gd name="T67" fmla="*/ 2147483647 h 585"/>
                <a:gd name="T68" fmla="*/ 2147483647 w 1257"/>
                <a:gd name="T69" fmla="*/ 2147483647 h 585"/>
                <a:gd name="T70" fmla="*/ 2147483647 w 1257"/>
                <a:gd name="T71" fmla="*/ 2147483647 h 58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57"/>
                <a:gd name="T109" fmla="*/ 0 h 585"/>
                <a:gd name="T110" fmla="*/ 1257 w 1257"/>
                <a:gd name="T111" fmla="*/ 585 h 58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57" h="585">
                  <a:moveTo>
                    <a:pt x="84" y="147"/>
                  </a:moveTo>
                  <a:lnTo>
                    <a:pt x="75" y="162"/>
                  </a:lnTo>
                  <a:lnTo>
                    <a:pt x="55" y="201"/>
                  </a:lnTo>
                  <a:lnTo>
                    <a:pt x="41" y="227"/>
                  </a:lnTo>
                  <a:lnTo>
                    <a:pt x="29" y="258"/>
                  </a:lnTo>
                  <a:lnTo>
                    <a:pt x="23" y="274"/>
                  </a:lnTo>
                  <a:lnTo>
                    <a:pt x="18" y="290"/>
                  </a:lnTo>
                  <a:lnTo>
                    <a:pt x="13" y="307"/>
                  </a:lnTo>
                  <a:lnTo>
                    <a:pt x="9" y="325"/>
                  </a:lnTo>
                  <a:lnTo>
                    <a:pt x="5" y="343"/>
                  </a:lnTo>
                  <a:lnTo>
                    <a:pt x="2" y="360"/>
                  </a:lnTo>
                  <a:lnTo>
                    <a:pt x="0" y="378"/>
                  </a:lnTo>
                  <a:lnTo>
                    <a:pt x="0" y="395"/>
                  </a:lnTo>
                  <a:lnTo>
                    <a:pt x="0" y="414"/>
                  </a:lnTo>
                  <a:lnTo>
                    <a:pt x="2" y="431"/>
                  </a:lnTo>
                  <a:lnTo>
                    <a:pt x="5" y="447"/>
                  </a:lnTo>
                  <a:lnTo>
                    <a:pt x="10" y="463"/>
                  </a:lnTo>
                  <a:lnTo>
                    <a:pt x="17" y="480"/>
                  </a:lnTo>
                  <a:lnTo>
                    <a:pt x="26" y="495"/>
                  </a:lnTo>
                  <a:lnTo>
                    <a:pt x="36" y="509"/>
                  </a:lnTo>
                  <a:lnTo>
                    <a:pt x="50" y="521"/>
                  </a:lnTo>
                  <a:lnTo>
                    <a:pt x="65" y="533"/>
                  </a:lnTo>
                  <a:lnTo>
                    <a:pt x="82" y="544"/>
                  </a:lnTo>
                  <a:lnTo>
                    <a:pt x="101" y="555"/>
                  </a:lnTo>
                  <a:lnTo>
                    <a:pt x="125" y="563"/>
                  </a:lnTo>
                  <a:lnTo>
                    <a:pt x="148" y="570"/>
                  </a:lnTo>
                  <a:lnTo>
                    <a:pt x="172" y="575"/>
                  </a:lnTo>
                  <a:lnTo>
                    <a:pt x="198" y="579"/>
                  </a:lnTo>
                  <a:lnTo>
                    <a:pt x="223" y="583"/>
                  </a:lnTo>
                  <a:lnTo>
                    <a:pt x="248" y="585"/>
                  </a:lnTo>
                  <a:lnTo>
                    <a:pt x="275" y="585"/>
                  </a:lnTo>
                  <a:lnTo>
                    <a:pt x="301" y="585"/>
                  </a:lnTo>
                  <a:lnTo>
                    <a:pt x="327" y="584"/>
                  </a:lnTo>
                  <a:lnTo>
                    <a:pt x="355" y="582"/>
                  </a:lnTo>
                  <a:lnTo>
                    <a:pt x="382" y="579"/>
                  </a:lnTo>
                  <a:lnTo>
                    <a:pt x="409" y="576"/>
                  </a:lnTo>
                  <a:lnTo>
                    <a:pt x="438" y="571"/>
                  </a:lnTo>
                  <a:lnTo>
                    <a:pt x="466" y="566"/>
                  </a:lnTo>
                  <a:lnTo>
                    <a:pt x="496" y="560"/>
                  </a:lnTo>
                  <a:lnTo>
                    <a:pt x="525" y="553"/>
                  </a:lnTo>
                  <a:lnTo>
                    <a:pt x="554" y="545"/>
                  </a:lnTo>
                  <a:lnTo>
                    <a:pt x="615" y="529"/>
                  </a:lnTo>
                  <a:lnTo>
                    <a:pt x="676" y="512"/>
                  </a:lnTo>
                  <a:lnTo>
                    <a:pt x="740" y="493"/>
                  </a:lnTo>
                  <a:lnTo>
                    <a:pt x="804" y="472"/>
                  </a:lnTo>
                  <a:lnTo>
                    <a:pt x="870" y="451"/>
                  </a:lnTo>
                  <a:lnTo>
                    <a:pt x="937" y="430"/>
                  </a:lnTo>
                  <a:lnTo>
                    <a:pt x="1006" y="409"/>
                  </a:lnTo>
                  <a:lnTo>
                    <a:pt x="1076" y="388"/>
                  </a:lnTo>
                  <a:lnTo>
                    <a:pt x="1108" y="378"/>
                  </a:lnTo>
                  <a:lnTo>
                    <a:pt x="1137" y="366"/>
                  </a:lnTo>
                  <a:lnTo>
                    <a:pt x="1163" y="354"/>
                  </a:lnTo>
                  <a:lnTo>
                    <a:pt x="1185" y="341"/>
                  </a:lnTo>
                  <a:lnTo>
                    <a:pt x="1204" y="328"/>
                  </a:lnTo>
                  <a:lnTo>
                    <a:pt x="1220" y="312"/>
                  </a:lnTo>
                  <a:lnTo>
                    <a:pt x="1232" y="298"/>
                  </a:lnTo>
                  <a:lnTo>
                    <a:pt x="1242" y="283"/>
                  </a:lnTo>
                  <a:lnTo>
                    <a:pt x="1249" y="267"/>
                  </a:lnTo>
                  <a:lnTo>
                    <a:pt x="1254" y="251"/>
                  </a:lnTo>
                  <a:lnTo>
                    <a:pt x="1256" y="234"/>
                  </a:lnTo>
                  <a:lnTo>
                    <a:pt x="1257" y="218"/>
                  </a:lnTo>
                  <a:lnTo>
                    <a:pt x="1256" y="202"/>
                  </a:lnTo>
                  <a:lnTo>
                    <a:pt x="1253" y="186"/>
                  </a:lnTo>
                  <a:lnTo>
                    <a:pt x="1248" y="170"/>
                  </a:lnTo>
                  <a:lnTo>
                    <a:pt x="1243" y="154"/>
                  </a:lnTo>
                  <a:lnTo>
                    <a:pt x="1236" y="138"/>
                  </a:lnTo>
                  <a:lnTo>
                    <a:pt x="1229" y="124"/>
                  </a:lnTo>
                  <a:lnTo>
                    <a:pt x="1220" y="109"/>
                  </a:lnTo>
                  <a:lnTo>
                    <a:pt x="1210" y="95"/>
                  </a:lnTo>
                  <a:lnTo>
                    <a:pt x="1192" y="68"/>
                  </a:lnTo>
                  <a:lnTo>
                    <a:pt x="1173" y="46"/>
                  </a:lnTo>
                  <a:lnTo>
                    <a:pt x="1141" y="12"/>
                  </a:lnTo>
                  <a:lnTo>
                    <a:pt x="1129" y="0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6" name="Line 35"/>
            <p:cNvSpPr>
              <a:spLocks noChangeShapeType="1"/>
            </p:cNvSpPr>
            <p:nvPr/>
          </p:nvSpPr>
          <p:spPr bwMode="auto">
            <a:xfrm>
              <a:off x="3871913" y="3932238"/>
              <a:ext cx="233362" cy="1587"/>
            </a:xfrm>
            <a:prstGeom prst="line">
              <a:avLst/>
            </a:pr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7" name="Freeform 36"/>
            <p:cNvSpPr>
              <a:spLocks/>
            </p:cNvSpPr>
            <p:nvPr/>
          </p:nvSpPr>
          <p:spPr bwMode="auto">
            <a:xfrm>
              <a:off x="3810000" y="3919538"/>
              <a:ext cx="60325" cy="22225"/>
            </a:xfrm>
            <a:custGeom>
              <a:avLst/>
              <a:gdLst>
                <a:gd name="T0" fmla="*/ 2147483647 w 1058"/>
                <a:gd name="T1" fmla="*/ 2147483647 h 378"/>
                <a:gd name="T2" fmla="*/ 0 w 1058"/>
                <a:gd name="T3" fmla="*/ 2147483647 h 378"/>
                <a:gd name="T4" fmla="*/ 2147483647 w 1058"/>
                <a:gd name="T5" fmla="*/ 2147483647 h 378"/>
                <a:gd name="T6" fmla="*/ 2147483647 w 1058"/>
                <a:gd name="T7" fmla="*/ 2147483647 h 378"/>
                <a:gd name="T8" fmla="*/ 2147483647 w 1058"/>
                <a:gd name="T9" fmla="*/ 2147483647 h 378"/>
                <a:gd name="T10" fmla="*/ 2147483647 w 1058"/>
                <a:gd name="T11" fmla="*/ 2147483647 h 378"/>
                <a:gd name="T12" fmla="*/ 2147483647 w 1058"/>
                <a:gd name="T13" fmla="*/ 2147483647 h 378"/>
                <a:gd name="T14" fmla="*/ 2147483647 w 1058"/>
                <a:gd name="T15" fmla="*/ 2147483647 h 378"/>
                <a:gd name="T16" fmla="*/ 2147483647 w 1058"/>
                <a:gd name="T17" fmla="*/ 2147483647 h 378"/>
                <a:gd name="T18" fmla="*/ 2147483647 w 1058"/>
                <a:gd name="T19" fmla="*/ 2147483647 h 378"/>
                <a:gd name="T20" fmla="*/ 2147483647 w 1058"/>
                <a:gd name="T21" fmla="*/ 2147483647 h 378"/>
                <a:gd name="T22" fmla="*/ 2147483647 w 1058"/>
                <a:gd name="T23" fmla="*/ 2147483647 h 378"/>
                <a:gd name="T24" fmla="*/ 2147483647 w 1058"/>
                <a:gd name="T25" fmla="*/ 2147483647 h 378"/>
                <a:gd name="T26" fmla="*/ 2147483647 w 1058"/>
                <a:gd name="T27" fmla="*/ 2147483647 h 378"/>
                <a:gd name="T28" fmla="*/ 2147483647 w 1058"/>
                <a:gd name="T29" fmla="*/ 2147483647 h 378"/>
                <a:gd name="T30" fmla="*/ 2147483647 w 1058"/>
                <a:gd name="T31" fmla="*/ 2147483647 h 378"/>
                <a:gd name="T32" fmla="*/ 2147483647 w 1058"/>
                <a:gd name="T33" fmla="*/ 2147483647 h 378"/>
                <a:gd name="T34" fmla="*/ 2147483647 w 1058"/>
                <a:gd name="T35" fmla="*/ 2147483647 h 378"/>
                <a:gd name="T36" fmla="*/ 2147483647 w 1058"/>
                <a:gd name="T37" fmla="*/ 2147483647 h 378"/>
                <a:gd name="T38" fmla="*/ 2147483647 w 1058"/>
                <a:gd name="T39" fmla="*/ 2147483647 h 378"/>
                <a:gd name="T40" fmla="*/ 2147483647 w 1058"/>
                <a:gd name="T41" fmla="*/ 2147483647 h 378"/>
                <a:gd name="T42" fmla="*/ 2147483647 w 1058"/>
                <a:gd name="T43" fmla="*/ 2147483647 h 378"/>
                <a:gd name="T44" fmla="*/ 2147483647 w 1058"/>
                <a:gd name="T45" fmla="*/ 2147483647 h 378"/>
                <a:gd name="T46" fmla="*/ 2147483647 w 1058"/>
                <a:gd name="T47" fmla="*/ 2147483647 h 378"/>
                <a:gd name="T48" fmla="*/ 2147483647 w 1058"/>
                <a:gd name="T49" fmla="*/ 2147483647 h 378"/>
                <a:gd name="T50" fmla="*/ 2147483647 w 1058"/>
                <a:gd name="T51" fmla="*/ 2147483647 h 378"/>
                <a:gd name="T52" fmla="*/ 2147483647 w 1058"/>
                <a:gd name="T53" fmla="*/ 2147483647 h 378"/>
                <a:gd name="T54" fmla="*/ 2147483647 w 1058"/>
                <a:gd name="T55" fmla="*/ 2147483647 h 378"/>
                <a:gd name="T56" fmla="*/ 2147483647 w 1058"/>
                <a:gd name="T57" fmla="*/ 2147483647 h 378"/>
                <a:gd name="T58" fmla="*/ 2147483647 w 1058"/>
                <a:gd name="T59" fmla="*/ 2147483647 h 378"/>
                <a:gd name="T60" fmla="*/ 2147483647 w 1058"/>
                <a:gd name="T61" fmla="*/ 2147483647 h 378"/>
                <a:gd name="T62" fmla="*/ 2147483647 w 1058"/>
                <a:gd name="T63" fmla="*/ 2147483647 h 378"/>
                <a:gd name="T64" fmla="*/ 2147483647 w 1058"/>
                <a:gd name="T65" fmla="*/ 2147483647 h 37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8"/>
                <a:gd name="T100" fmla="*/ 0 h 378"/>
                <a:gd name="T101" fmla="*/ 1058 w 1058"/>
                <a:gd name="T102" fmla="*/ 378 h 37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8" h="378">
                  <a:moveTo>
                    <a:pt x="6" y="98"/>
                  </a:moveTo>
                  <a:lnTo>
                    <a:pt x="4" y="109"/>
                  </a:lnTo>
                  <a:lnTo>
                    <a:pt x="0" y="138"/>
                  </a:lnTo>
                  <a:lnTo>
                    <a:pt x="0" y="157"/>
                  </a:lnTo>
                  <a:lnTo>
                    <a:pt x="2" y="180"/>
                  </a:lnTo>
                  <a:lnTo>
                    <a:pt x="3" y="191"/>
                  </a:lnTo>
                  <a:lnTo>
                    <a:pt x="5" y="203"/>
                  </a:lnTo>
                  <a:lnTo>
                    <a:pt x="7" y="215"/>
                  </a:lnTo>
                  <a:lnTo>
                    <a:pt x="11" y="227"/>
                  </a:lnTo>
                  <a:lnTo>
                    <a:pt x="15" y="240"/>
                  </a:lnTo>
                  <a:lnTo>
                    <a:pt x="19" y="253"/>
                  </a:lnTo>
                  <a:lnTo>
                    <a:pt x="25" y="265"/>
                  </a:lnTo>
                  <a:lnTo>
                    <a:pt x="32" y="277"/>
                  </a:lnTo>
                  <a:lnTo>
                    <a:pt x="40" y="289"/>
                  </a:lnTo>
                  <a:lnTo>
                    <a:pt x="49" y="300"/>
                  </a:lnTo>
                  <a:lnTo>
                    <a:pt x="60" y="311"/>
                  </a:lnTo>
                  <a:lnTo>
                    <a:pt x="71" y="322"/>
                  </a:lnTo>
                  <a:lnTo>
                    <a:pt x="85" y="332"/>
                  </a:lnTo>
                  <a:lnTo>
                    <a:pt x="100" y="341"/>
                  </a:lnTo>
                  <a:lnTo>
                    <a:pt x="116" y="349"/>
                  </a:lnTo>
                  <a:lnTo>
                    <a:pt x="134" y="356"/>
                  </a:lnTo>
                  <a:lnTo>
                    <a:pt x="154" y="363"/>
                  </a:lnTo>
                  <a:lnTo>
                    <a:pt x="175" y="368"/>
                  </a:lnTo>
                  <a:lnTo>
                    <a:pt x="198" y="372"/>
                  </a:lnTo>
                  <a:lnTo>
                    <a:pt x="223" y="374"/>
                  </a:lnTo>
                  <a:lnTo>
                    <a:pt x="249" y="376"/>
                  </a:lnTo>
                  <a:lnTo>
                    <a:pt x="276" y="377"/>
                  </a:lnTo>
                  <a:lnTo>
                    <a:pt x="305" y="378"/>
                  </a:lnTo>
                  <a:lnTo>
                    <a:pt x="333" y="378"/>
                  </a:lnTo>
                  <a:lnTo>
                    <a:pt x="391" y="377"/>
                  </a:lnTo>
                  <a:lnTo>
                    <a:pt x="451" y="373"/>
                  </a:lnTo>
                  <a:lnTo>
                    <a:pt x="511" y="368"/>
                  </a:lnTo>
                  <a:lnTo>
                    <a:pt x="571" y="361"/>
                  </a:lnTo>
                  <a:lnTo>
                    <a:pt x="631" y="352"/>
                  </a:lnTo>
                  <a:lnTo>
                    <a:pt x="689" y="342"/>
                  </a:lnTo>
                  <a:lnTo>
                    <a:pt x="744" y="331"/>
                  </a:lnTo>
                  <a:lnTo>
                    <a:pt x="795" y="317"/>
                  </a:lnTo>
                  <a:lnTo>
                    <a:pt x="821" y="311"/>
                  </a:lnTo>
                  <a:lnTo>
                    <a:pt x="844" y="304"/>
                  </a:lnTo>
                  <a:lnTo>
                    <a:pt x="866" y="297"/>
                  </a:lnTo>
                  <a:lnTo>
                    <a:pt x="888" y="289"/>
                  </a:lnTo>
                  <a:lnTo>
                    <a:pt x="908" y="282"/>
                  </a:lnTo>
                  <a:lnTo>
                    <a:pt x="926" y="274"/>
                  </a:lnTo>
                  <a:lnTo>
                    <a:pt x="943" y="266"/>
                  </a:lnTo>
                  <a:lnTo>
                    <a:pt x="959" y="258"/>
                  </a:lnTo>
                  <a:lnTo>
                    <a:pt x="973" y="250"/>
                  </a:lnTo>
                  <a:lnTo>
                    <a:pt x="984" y="241"/>
                  </a:lnTo>
                  <a:lnTo>
                    <a:pt x="994" y="233"/>
                  </a:lnTo>
                  <a:lnTo>
                    <a:pt x="1002" y="225"/>
                  </a:lnTo>
                  <a:lnTo>
                    <a:pt x="1009" y="216"/>
                  </a:lnTo>
                  <a:lnTo>
                    <a:pt x="1015" y="208"/>
                  </a:lnTo>
                  <a:lnTo>
                    <a:pt x="1020" y="199"/>
                  </a:lnTo>
                  <a:lnTo>
                    <a:pt x="1026" y="190"/>
                  </a:lnTo>
                  <a:lnTo>
                    <a:pt x="1035" y="171"/>
                  </a:lnTo>
                  <a:lnTo>
                    <a:pt x="1042" y="152"/>
                  </a:lnTo>
                  <a:lnTo>
                    <a:pt x="1048" y="133"/>
                  </a:lnTo>
                  <a:lnTo>
                    <a:pt x="1052" y="114"/>
                  </a:lnTo>
                  <a:lnTo>
                    <a:pt x="1055" y="97"/>
                  </a:lnTo>
                  <a:lnTo>
                    <a:pt x="1057" y="78"/>
                  </a:lnTo>
                  <a:lnTo>
                    <a:pt x="1058" y="62"/>
                  </a:lnTo>
                  <a:lnTo>
                    <a:pt x="1058" y="48"/>
                  </a:lnTo>
                  <a:lnTo>
                    <a:pt x="1058" y="34"/>
                  </a:lnTo>
                  <a:lnTo>
                    <a:pt x="1057" y="23"/>
                  </a:lnTo>
                  <a:lnTo>
                    <a:pt x="1056" y="6"/>
                  </a:lnTo>
                  <a:lnTo>
                    <a:pt x="1055" y="0"/>
                  </a:lnTo>
                  <a:lnTo>
                    <a:pt x="6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18" name="Freeform 37"/>
            <p:cNvSpPr>
              <a:spLocks/>
            </p:cNvSpPr>
            <p:nvPr/>
          </p:nvSpPr>
          <p:spPr bwMode="auto">
            <a:xfrm>
              <a:off x="3386138" y="3552825"/>
              <a:ext cx="146050" cy="311150"/>
            </a:xfrm>
            <a:custGeom>
              <a:avLst/>
              <a:gdLst>
                <a:gd name="T0" fmla="*/ 2147483647 w 2586"/>
                <a:gd name="T1" fmla="*/ 0 h 5477"/>
                <a:gd name="T2" fmla="*/ 2147483647 w 2586"/>
                <a:gd name="T3" fmla="*/ 2147483647 h 5477"/>
                <a:gd name="T4" fmla="*/ 2147483647 w 2586"/>
                <a:gd name="T5" fmla="*/ 2147483647 h 5477"/>
                <a:gd name="T6" fmla="*/ 0 w 2586"/>
                <a:gd name="T7" fmla="*/ 2147483647 h 5477"/>
                <a:gd name="T8" fmla="*/ 2147483647 w 2586"/>
                <a:gd name="T9" fmla="*/ 0 h 54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86"/>
                <a:gd name="T16" fmla="*/ 0 h 5477"/>
                <a:gd name="T17" fmla="*/ 2586 w 2586"/>
                <a:gd name="T18" fmla="*/ 5477 h 547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86" h="5477">
                  <a:moveTo>
                    <a:pt x="517" y="0"/>
                  </a:moveTo>
                  <a:lnTo>
                    <a:pt x="2586" y="5477"/>
                  </a:lnTo>
                  <a:lnTo>
                    <a:pt x="2137" y="5477"/>
                  </a:lnTo>
                  <a:lnTo>
                    <a:pt x="0" y="517"/>
                  </a:lnTo>
                  <a:lnTo>
                    <a:pt x="517" y="0"/>
                  </a:lnTo>
                  <a:close/>
                </a:path>
              </a:pathLst>
            </a:custGeom>
            <a:solidFill>
              <a:schemeClr val="tx1"/>
            </a:solidFill>
            <a:ln w="1">
              <a:solidFill>
                <a:srgbClr val="1F1A1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4419" name="Freeform 38"/>
            <p:cNvSpPr>
              <a:spLocks/>
            </p:cNvSpPr>
            <p:nvPr/>
          </p:nvSpPr>
          <p:spPr bwMode="auto">
            <a:xfrm>
              <a:off x="3416300" y="3683000"/>
              <a:ext cx="103187" cy="290512"/>
            </a:xfrm>
            <a:custGeom>
              <a:avLst/>
              <a:gdLst>
                <a:gd name="T0" fmla="*/ 2147483647 w 1827"/>
                <a:gd name="T1" fmla="*/ 2147483647 h 5143"/>
                <a:gd name="T2" fmla="*/ 2147483647 w 1827"/>
                <a:gd name="T3" fmla="*/ 2147483647 h 5143"/>
                <a:gd name="T4" fmla="*/ 2147483647 w 1827"/>
                <a:gd name="T5" fmla="*/ 2147483647 h 5143"/>
                <a:gd name="T6" fmla="*/ 2147483647 w 1827"/>
                <a:gd name="T7" fmla="*/ 2147483647 h 5143"/>
                <a:gd name="T8" fmla="*/ 2147483647 w 1827"/>
                <a:gd name="T9" fmla="*/ 2147483647 h 5143"/>
                <a:gd name="T10" fmla="*/ 2147483647 w 1827"/>
                <a:gd name="T11" fmla="*/ 2147483647 h 5143"/>
                <a:gd name="T12" fmla="*/ 2147483647 w 1827"/>
                <a:gd name="T13" fmla="*/ 2147483647 h 5143"/>
                <a:gd name="T14" fmla="*/ 2147483647 w 1827"/>
                <a:gd name="T15" fmla="*/ 2147483647 h 5143"/>
                <a:gd name="T16" fmla="*/ 2147483647 w 1827"/>
                <a:gd name="T17" fmla="*/ 2147483647 h 5143"/>
                <a:gd name="T18" fmla="*/ 2147483647 w 1827"/>
                <a:gd name="T19" fmla="*/ 2147483647 h 5143"/>
                <a:gd name="T20" fmla="*/ 2147483647 w 1827"/>
                <a:gd name="T21" fmla="*/ 2147483647 h 5143"/>
                <a:gd name="T22" fmla="*/ 2147483647 w 1827"/>
                <a:gd name="T23" fmla="*/ 2147483647 h 5143"/>
                <a:gd name="T24" fmla="*/ 2147483647 w 1827"/>
                <a:gd name="T25" fmla="*/ 2147483647 h 5143"/>
                <a:gd name="T26" fmla="*/ 2147483647 w 1827"/>
                <a:gd name="T27" fmla="*/ 2147483647 h 5143"/>
                <a:gd name="T28" fmla="*/ 2147483647 w 1827"/>
                <a:gd name="T29" fmla="*/ 2147483647 h 5143"/>
                <a:gd name="T30" fmla="*/ 2147483647 w 1827"/>
                <a:gd name="T31" fmla="*/ 2147483647 h 5143"/>
                <a:gd name="T32" fmla="*/ 2147483647 w 1827"/>
                <a:gd name="T33" fmla="*/ 2147483647 h 5143"/>
                <a:gd name="T34" fmla="*/ 2147483647 w 1827"/>
                <a:gd name="T35" fmla="*/ 2147483647 h 5143"/>
                <a:gd name="T36" fmla="*/ 2147483647 w 1827"/>
                <a:gd name="T37" fmla="*/ 2147483647 h 5143"/>
                <a:gd name="T38" fmla="*/ 2147483647 w 1827"/>
                <a:gd name="T39" fmla="*/ 2147483647 h 5143"/>
                <a:gd name="T40" fmla="*/ 2147483647 w 1827"/>
                <a:gd name="T41" fmla="*/ 2147483647 h 5143"/>
                <a:gd name="T42" fmla="*/ 2147483647 w 1827"/>
                <a:gd name="T43" fmla="*/ 2147483647 h 5143"/>
                <a:gd name="T44" fmla="*/ 2147483647 w 1827"/>
                <a:gd name="T45" fmla="*/ 2147483647 h 5143"/>
                <a:gd name="T46" fmla="*/ 2147483647 w 1827"/>
                <a:gd name="T47" fmla="*/ 2147483647 h 5143"/>
                <a:gd name="T48" fmla="*/ 2147483647 w 1827"/>
                <a:gd name="T49" fmla="*/ 2147483647 h 5143"/>
                <a:gd name="T50" fmla="*/ 2147483647 w 1827"/>
                <a:gd name="T51" fmla="*/ 2147483647 h 5143"/>
                <a:gd name="T52" fmla="*/ 2147483647 w 1827"/>
                <a:gd name="T53" fmla="*/ 2147483647 h 5143"/>
                <a:gd name="T54" fmla="*/ 2147483647 w 1827"/>
                <a:gd name="T55" fmla="*/ 2147483647 h 5143"/>
                <a:gd name="T56" fmla="*/ 2147483647 w 1827"/>
                <a:gd name="T57" fmla="*/ 2147483647 h 5143"/>
                <a:gd name="T58" fmla="*/ 2147483647 w 1827"/>
                <a:gd name="T59" fmla="*/ 2147483647 h 5143"/>
                <a:gd name="T60" fmla="*/ 2147483647 w 1827"/>
                <a:gd name="T61" fmla="*/ 2147483647 h 5143"/>
                <a:gd name="T62" fmla="*/ 2147483647 w 1827"/>
                <a:gd name="T63" fmla="*/ 2147483647 h 5143"/>
                <a:gd name="T64" fmla="*/ 2147483647 w 1827"/>
                <a:gd name="T65" fmla="*/ 2147483647 h 5143"/>
                <a:gd name="T66" fmla="*/ 2147483647 w 1827"/>
                <a:gd name="T67" fmla="*/ 2147483647 h 5143"/>
                <a:gd name="T68" fmla="*/ 2147483647 w 1827"/>
                <a:gd name="T69" fmla="*/ 2147483647 h 5143"/>
                <a:gd name="T70" fmla="*/ 2147483647 w 1827"/>
                <a:gd name="T71" fmla="*/ 2147483647 h 5143"/>
                <a:gd name="T72" fmla="*/ 2147483647 w 1827"/>
                <a:gd name="T73" fmla="*/ 2147483647 h 5143"/>
                <a:gd name="T74" fmla="*/ 2147483647 w 1827"/>
                <a:gd name="T75" fmla="*/ 2147483647 h 5143"/>
                <a:gd name="T76" fmla="*/ 2147483647 w 1827"/>
                <a:gd name="T77" fmla="*/ 2147483647 h 5143"/>
                <a:gd name="T78" fmla="*/ 2147483647 w 1827"/>
                <a:gd name="T79" fmla="*/ 2147483647 h 5143"/>
                <a:gd name="T80" fmla="*/ 2147483647 w 1827"/>
                <a:gd name="T81" fmla="*/ 2147483647 h 5143"/>
                <a:gd name="T82" fmla="*/ 2147483647 w 1827"/>
                <a:gd name="T83" fmla="*/ 2147483647 h 5143"/>
                <a:gd name="T84" fmla="*/ 2147483647 w 1827"/>
                <a:gd name="T85" fmla="*/ 2147483647 h 5143"/>
                <a:gd name="T86" fmla="*/ 2147483647 w 1827"/>
                <a:gd name="T87" fmla="*/ 2147483647 h 5143"/>
                <a:gd name="T88" fmla="*/ 2147483647 w 1827"/>
                <a:gd name="T89" fmla="*/ 2147483647 h 5143"/>
                <a:gd name="T90" fmla="*/ 2147483647 w 1827"/>
                <a:gd name="T91" fmla="*/ 2147483647 h 5143"/>
                <a:gd name="T92" fmla="*/ 2147483647 w 1827"/>
                <a:gd name="T93" fmla="*/ 2147483647 h 5143"/>
                <a:gd name="T94" fmla="*/ 2147483647 w 1827"/>
                <a:gd name="T95" fmla="*/ 2147483647 h 5143"/>
                <a:gd name="T96" fmla="*/ 2147483647 w 1827"/>
                <a:gd name="T97" fmla="*/ 2147483647 h 5143"/>
                <a:gd name="T98" fmla="*/ 2147483647 w 1827"/>
                <a:gd name="T99" fmla="*/ 2147483647 h 5143"/>
                <a:gd name="T100" fmla="*/ 2147483647 w 1827"/>
                <a:gd name="T101" fmla="*/ 2147483647 h 5143"/>
                <a:gd name="T102" fmla="*/ 2147483647 w 1827"/>
                <a:gd name="T103" fmla="*/ 2147483647 h 5143"/>
                <a:gd name="T104" fmla="*/ 2147483647 w 1827"/>
                <a:gd name="T105" fmla="*/ 2147483647 h 5143"/>
                <a:gd name="T106" fmla="*/ 2147483647 w 1827"/>
                <a:gd name="T107" fmla="*/ 2147483647 h 5143"/>
                <a:gd name="T108" fmla="*/ 2147483647 w 1827"/>
                <a:gd name="T109" fmla="*/ 2147483647 h 5143"/>
                <a:gd name="T110" fmla="*/ 2147483647 w 1827"/>
                <a:gd name="T111" fmla="*/ 0 h 51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27"/>
                <a:gd name="T169" fmla="*/ 0 h 5143"/>
                <a:gd name="T170" fmla="*/ 1827 w 1827"/>
                <a:gd name="T171" fmla="*/ 5143 h 514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27" h="5143">
                  <a:moveTo>
                    <a:pt x="207" y="0"/>
                  </a:moveTo>
                  <a:lnTo>
                    <a:pt x="205" y="6"/>
                  </a:lnTo>
                  <a:lnTo>
                    <a:pt x="201" y="23"/>
                  </a:lnTo>
                  <a:lnTo>
                    <a:pt x="193" y="50"/>
                  </a:lnTo>
                  <a:lnTo>
                    <a:pt x="184" y="87"/>
                  </a:lnTo>
                  <a:lnTo>
                    <a:pt x="173" y="132"/>
                  </a:lnTo>
                  <a:lnTo>
                    <a:pt x="161" y="185"/>
                  </a:lnTo>
                  <a:lnTo>
                    <a:pt x="148" y="245"/>
                  </a:lnTo>
                  <a:lnTo>
                    <a:pt x="134" y="310"/>
                  </a:lnTo>
                  <a:lnTo>
                    <a:pt x="118" y="379"/>
                  </a:lnTo>
                  <a:lnTo>
                    <a:pt x="104" y="453"/>
                  </a:lnTo>
                  <a:lnTo>
                    <a:pt x="89" y="530"/>
                  </a:lnTo>
                  <a:lnTo>
                    <a:pt x="76" y="609"/>
                  </a:lnTo>
                  <a:lnTo>
                    <a:pt x="63" y="691"/>
                  </a:lnTo>
                  <a:lnTo>
                    <a:pt x="52" y="771"/>
                  </a:lnTo>
                  <a:lnTo>
                    <a:pt x="41" y="851"/>
                  </a:lnTo>
                  <a:lnTo>
                    <a:pt x="34" y="930"/>
                  </a:lnTo>
                  <a:lnTo>
                    <a:pt x="32" y="967"/>
                  </a:lnTo>
                  <a:lnTo>
                    <a:pt x="33" y="1001"/>
                  </a:lnTo>
                  <a:lnTo>
                    <a:pt x="37" y="1031"/>
                  </a:lnTo>
                  <a:lnTo>
                    <a:pt x="43" y="1060"/>
                  </a:lnTo>
                  <a:lnTo>
                    <a:pt x="53" y="1087"/>
                  </a:lnTo>
                  <a:lnTo>
                    <a:pt x="64" y="1112"/>
                  </a:lnTo>
                  <a:lnTo>
                    <a:pt x="77" y="1136"/>
                  </a:lnTo>
                  <a:lnTo>
                    <a:pt x="91" y="1160"/>
                  </a:lnTo>
                  <a:lnTo>
                    <a:pt x="108" y="1183"/>
                  </a:lnTo>
                  <a:lnTo>
                    <a:pt x="126" y="1206"/>
                  </a:lnTo>
                  <a:lnTo>
                    <a:pt x="146" y="1230"/>
                  </a:lnTo>
                  <a:lnTo>
                    <a:pt x="166" y="1255"/>
                  </a:lnTo>
                  <a:lnTo>
                    <a:pt x="188" y="1281"/>
                  </a:lnTo>
                  <a:lnTo>
                    <a:pt x="211" y="1310"/>
                  </a:lnTo>
                  <a:lnTo>
                    <a:pt x="234" y="1340"/>
                  </a:lnTo>
                  <a:lnTo>
                    <a:pt x="258" y="1373"/>
                  </a:lnTo>
                  <a:lnTo>
                    <a:pt x="283" y="1410"/>
                  </a:lnTo>
                  <a:lnTo>
                    <a:pt x="307" y="1449"/>
                  </a:lnTo>
                  <a:lnTo>
                    <a:pt x="332" y="1493"/>
                  </a:lnTo>
                  <a:lnTo>
                    <a:pt x="357" y="1542"/>
                  </a:lnTo>
                  <a:lnTo>
                    <a:pt x="381" y="1594"/>
                  </a:lnTo>
                  <a:lnTo>
                    <a:pt x="405" y="1653"/>
                  </a:lnTo>
                  <a:lnTo>
                    <a:pt x="429" y="1717"/>
                  </a:lnTo>
                  <a:lnTo>
                    <a:pt x="451" y="1787"/>
                  </a:lnTo>
                  <a:lnTo>
                    <a:pt x="472" y="1864"/>
                  </a:lnTo>
                  <a:lnTo>
                    <a:pt x="494" y="1947"/>
                  </a:lnTo>
                  <a:lnTo>
                    <a:pt x="513" y="2038"/>
                  </a:lnTo>
                  <a:lnTo>
                    <a:pt x="531" y="2136"/>
                  </a:lnTo>
                  <a:lnTo>
                    <a:pt x="547" y="2244"/>
                  </a:lnTo>
                  <a:lnTo>
                    <a:pt x="562" y="2359"/>
                  </a:lnTo>
                  <a:lnTo>
                    <a:pt x="575" y="2484"/>
                  </a:lnTo>
                  <a:lnTo>
                    <a:pt x="586" y="2618"/>
                  </a:lnTo>
                  <a:lnTo>
                    <a:pt x="593" y="2754"/>
                  </a:lnTo>
                  <a:lnTo>
                    <a:pt x="596" y="2882"/>
                  </a:lnTo>
                  <a:lnTo>
                    <a:pt x="595" y="3006"/>
                  </a:lnTo>
                  <a:lnTo>
                    <a:pt x="590" y="3122"/>
                  </a:lnTo>
                  <a:lnTo>
                    <a:pt x="582" y="3234"/>
                  </a:lnTo>
                  <a:lnTo>
                    <a:pt x="570" y="3339"/>
                  </a:lnTo>
                  <a:lnTo>
                    <a:pt x="555" y="3438"/>
                  </a:lnTo>
                  <a:lnTo>
                    <a:pt x="538" y="3533"/>
                  </a:lnTo>
                  <a:lnTo>
                    <a:pt x="518" y="3622"/>
                  </a:lnTo>
                  <a:lnTo>
                    <a:pt x="496" y="3705"/>
                  </a:lnTo>
                  <a:lnTo>
                    <a:pt x="471" y="3784"/>
                  </a:lnTo>
                  <a:lnTo>
                    <a:pt x="446" y="3857"/>
                  </a:lnTo>
                  <a:lnTo>
                    <a:pt x="419" y="3926"/>
                  </a:lnTo>
                  <a:lnTo>
                    <a:pt x="390" y="3990"/>
                  </a:lnTo>
                  <a:lnTo>
                    <a:pt x="361" y="4048"/>
                  </a:lnTo>
                  <a:lnTo>
                    <a:pt x="331" y="4103"/>
                  </a:lnTo>
                  <a:lnTo>
                    <a:pt x="302" y="4154"/>
                  </a:lnTo>
                  <a:lnTo>
                    <a:pt x="272" y="4199"/>
                  </a:lnTo>
                  <a:lnTo>
                    <a:pt x="242" y="4242"/>
                  </a:lnTo>
                  <a:lnTo>
                    <a:pt x="213" y="4279"/>
                  </a:lnTo>
                  <a:lnTo>
                    <a:pt x="184" y="4314"/>
                  </a:lnTo>
                  <a:lnTo>
                    <a:pt x="156" y="4344"/>
                  </a:lnTo>
                  <a:lnTo>
                    <a:pt x="131" y="4372"/>
                  </a:lnTo>
                  <a:lnTo>
                    <a:pt x="106" y="4395"/>
                  </a:lnTo>
                  <a:lnTo>
                    <a:pt x="83" y="4416"/>
                  </a:lnTo>
                  <a:lnTo>
                    <a:pt x="63" y="4433"/>
                  </a:lnTo>
                  <a:lnTo>
                    <a:pt x="44" y="4448"/>
                  </a:lnTo>
                  <a:lnTo>
                    <a:pt x="29" y="4459"/>
                  </a:lnTo>
                  <a:lnTo>
                    <a:pt x="8" y="4473"/>
                  </a:lnTo>
                  <a:lnTo>
                    <a:pt x="0" y="4478"/>
                  </a:lnTo>
                  <a:lnTo>
                    <a:pt x="69" y="4995"/>
                  </a:lnTo>
                  <a:lnTo>
                    <a:pt x="120" y="5010"/>
                  </a:lnTo>
                  <a:lnTo>
                    <a:pt x="172" y="5025"/>
                  </a:lnTo>
                  <a:lnTo>
                    <a:pt x="224" y="5039"/>
                  </a:lnTo>
                  <a:lnTo>
                    <a:pt x="277" y="5054"/>
                  </a:lnTo>
                  <a:lnTo>
                    <a:pt x="328" y="5066"/>
                  </a:lnTo>
                  <a:lnTo>
                    <a:pt x="381" y="5077"/>
                  </a:lnTo>
                  <a:lnTo>
                    <a:pt x="434" y="5088"/>
                  </a:lnTo>
                  <a:lnTo>
                    <a:pt x="487" y="5098"/>
                  </a:lnTo>
                  <a:lnTo>
                    <a:pt x="540" y="5106"/>
                  </a:lnTo>
                  <a:lnTo>
                    <a:pt x="594" y="5114"/>
                  </a:lnTo>
                  <a:lnTo>
                    <a:pt x="648" y="5121"/>
                  </a:lnTo>
                  <a:lnTo>
                    <a:pt x="701" y="5128"/>
                  </a:lnTo>
                  <a:lnTo>
                    <a:pt x="755" y="5133"/>
                  </a:lnTo>
                  <a:lnTo>
                    <a:pt x="809" y="5137"/>
                  </a:lnTo>
                  <a:lnTo>
                    <a:pt x="864" y="5140"/>
                  </a:lnTo>
                  <a:lnTo>
                    <a:pt x="918" y="5142"/>
                  </a:lnTo>
                  <a:lnTo>
                    <a:pt x="973" y="5143"/>
                  </a:lnTo>
                  <a:lnTo>
                    <a:pt x="1029" y="5143"/>
                  </a:lnTo>
                  <a:lnTo>
                    <a:pt x="1084" y="5142"/>
                  </a:lnTo>
                  <a:lnTo>
                    <a:pt x="1139" y="5140"/>
                  </a:lnTo>
                  <a:lnTo>
                    <a:pt x="1195" y="5137"/>
                  </a:lnTo>
                  <a:lnTo>
                    <a:pt x="1252" y="5133"/>
                  </a:lnTo>
                  <a:lnTo>
                    <a:pt x="1308" y="5128"/>
                  </a:lnTo>
                  <a:lnTo>
                    <a:pt x="1364" y="5121"/>
                  </a:lnTo>
                  <a:lnTo>
                    <a:pt x="1421" y="5113"/>
                  </a:lnTo>
                  <a:lnTo>
                    <a:pt x="1479" y="5105"/>
                  </a:lnTo>
                  <a:lnTo>
                    <a:pt x="1536" y="5095"/>
                  </a:lnTo>
                  <a:lnTo>
                    <a:pt x="1594" y="5084"/>
                  </a:lnTo>
                  <a:lnTo>
                    <a:pt x="1651" y="5072"/>
                  </a:lnTo>
                  <a:lnTo>
                    <a:pt x="1709" y="5059"/>
                  </a:lnTo>
                  <a:lnTo>
                    <a:pt x="1768" y="5044"/>
                  </a:lnTo>
                  <a:lnTo>
                    <a:pt x="1827" y="5029"/>
                  </a:lnTo>
                  <a:lnTo>
                    <a:pt x="1806" y="4472"/>
                  </a:lnTo>
                  <a:lnTo>
                    <a:pt x="1804" y="4464"/>
                  </a:lnTo>
                  <a:lnTo>
                    <a:pt x="1799" y="4458"/>
                  </a:lnTo>
                  <a:lnTo>
                    <a:pt x="1790" y="4454"/>
                  </a:lnTo>
                  <a:lnTo>
                    <a:pt x="1779" y="4453"/>
                  </a:lnTo>
                  <a:lnTo>
                    <a:pt x="1764" y="4453"/>
                  </a:lnTo>
                  <a:lnTo>
                    <a:pt x="1747" y="4454"/>
                  </a:lnTo>
                  <a:lnTo>
                    <a:pt x="1727" y="4456"/>
                  </a:lnTo>
                  <a:lnTo>
                    <a:pt x="1705" y="4459"/>
                  </a:lnTo>
                  <a:lnTo>
                    <a:pt x="1655" y="4465"/>
                  </a:lnTo>
                  <a:lnTo>
                    <a:pt x="1599" y="4470"/>
                  </a:lnTo>
                  <a:lnTo>
                    <a:pt x="1568" y="4471"/>
                  </a:lnTo>
                  <a:lnTo>
                    <a:pt x="1536" y="4471"/>
                  </a:lnTo>
                  <a:lnTo>
                    <a:pt x="1503" y="4470"/>
                  </a:lnTo>
                  <a:lnTo>
                    <a:pt x="1470" y="4466"/>
                  </a:lnTo>
                  <a:lnTo>
                    <a:pt x="1435" y="4461"/>
                  </a:lnTo>
                  <a:lnTo>
                    <a:pt x="1400" y="4453"/>
                  </a:lnTo>
                  <a:lnTo>
                    <a:pt x="1365" y="4442"/>
                  </a:lnTo>
                  <a:lnTo>
                    <a:pt x="1330" y="4427"/>
                  </a:lnTo>
                  <a:lnTo>
                    <a:pt x="1294" y="4409"/>
                  </a:lnTo>
                  <a:lnTo>
                    <a:pt x="1260" y="4388"/>
                  </a:lnTo>
                  <a:lnTo>
                    <a:pt x="1226" y="4363"/>
                  </a:lnTo>
                  <a:lnTo>
                    <a:pt x="1192" y="4332"/>
                  </a:lnTo>
                  <a:lnTo>
                    <a:pt x="1159" y="4298"/>
                  </a:lnTo>
                  <a:lnTo>
                    <a:pt x="1126" y="4257"/>
                  </a:lnTo>
                  <a:lnTo>
                    <a:pt x="1096" y="4212"/>
                  </a:lnTo>
                  <a:lnTo>
                    <a:pt x="1066" y="4161"/>
                  </a:lnTo>
                  <a:lnTo>
                    <a:pt x="1038" y="4103"/>
                  </a:lnTo>
                  <a:lnTo>
                    <a:pt x="1012" y="4039"/>
                  </a:lnTo>
                  <a:lnTo>
                    <a:pt x="987" y="3969"/>
                  </a:lnTo>
                  <a:lnTo>
                    <a:pt x="965" y="3892"/>
                  </a:lnTo>
                  <a:lnTo>
                    <a:pt x="944" y="3808"/>
                  </a:lnTo>
                  <a:lnTo>
                    <a:pt x="923" y="3719"/>
                  </a:lnTo>
                  <a:lnTo>
                    <a:pt x="904" y="3625"/>
                  </a:lnTo>
                  <a:lnTo>
                    <a:pt x="886" y="3526"/>
                  </a:lnTo>
                  <a:lnTo>
                    <a:pt x="869" y="3423"/>
                  </a:lnTo>
                  <a:lnTo>
                    <a:pt x="851" y="3317"/>
                  </a:lnTo>
                  <a:lnTo>
                    <a:pt x="836" y="3208"/>
                  </a:lnTo>
                  <a:lnTo>
                    <a:pt x="820" y="3097"/>
                  </a:lnTo>
                  <a:lnTo>
                    <a:pt x="806" y="2985"/>
                  </a:lnTo>
                  <a:lnTo>
                    <a:pt x="793" y="2870"/>
                  </a:lnTo>
                  <a:lnTo>
                    <a:pt x="779" y="2756"/>
                  </a:lnTo>
                  <a:lnTo>
                    <a:pt x="767" y="2641"/>
                  </a:lnTo>
                  <a:lnTo>
                    <a:pt x="755" y="2527"/>
                  </a:lnTo>
                  <a:lnTo>
                    <a:pt x="744" y="2413"/>
                  </a:lnTo>
                  <a:lnTo>
                    <a:pt x="734" y="2301"/>
                  </a:lnTo>
                  <a:lnTo>
                    <a:pt x="725" y="2190"/>
                  </a:lnTo>
                  <a:lnTo>
                    <a:pt x="707" y="1978"/>
                  </a:lnTo>
                  <a:lnTo>
                    <a:pt x="693" y="1781"/>
                  </a:lnTo>
                  <a:lnTo>
                    <a:pt x="681" y="1601"/>
                  </a:lnTo>
                  <a:lnTo>
                    <a:pt x="671" y="1445"/>
                  </a:lnTo>
                  <a:lnTo>
                    <a:pt x="664" y="1317"/>
                  </a:lnTo>
                  <a:lnTo>
                    <a:pt x="659" y="1219"/>
                  </a:lnTo>
                  <a:lnTo>
                    <a:pt x="656" y="1158"/>
                  </a:lnTo>
                  <a:lnTo>
                    <a:pt x="655" y="1136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20" name="Freeform 39"/>
            <p:cNvSpPr>
              <a:spLocks/>
            </p:cNvSpPr>
            <p:nvPr/>
          </p:nvSpPr>
          <p:spPr bwMode="auto">
            <a:xfrm>
              <a:off x="3416300" y="3683000"/>
              <a:ext cx="103187" cy="290512"/>
            </a:xfrm>
            <a:custGeom>
              <a:avLst/>
              <a:gdLst>
                <a:gd name="T0" fmla="*/ 2147483647 w 1827"/>
                <a:gd name="T1" fmla="*/ 2147483647 h 5143"/>
                <a:gd name="T2" fmla="*/ 2147483647 w 1827"/>
                <a:gd name="T3" fmla="*/ 2147483647 h 5143"/>
                <a:gd name="T4" fmla="*/ 2147483647 w 1827"/>
                <a:gd name="T5" fmla="*/ 2147483647 h 5143"/>
                <a:gd name="T6" fmla="*/ 2147483647 w 1827"/>
                <a:gd name="T7" fmla="*/ 2147483647 h 5143"/>
                <a:gd name="T8" fmla="*/ 2147483647 w 1827"/>
                <a:gd name="T9" fmla="*/ 2147483647 h 5143"/>
                <a:gd name="T10" fmla="*/ 2147483647 w 1827"/>
                <a:gd name="T11" fmla="*/ 2147483647 h 5143"/>
                <a:gd name="T12" fmla="*/ 2147483647 w 1827"/>
                <a:gd name="T13" fmla="*/ 2147483647 h 5143"/>
                <a:gd name="T14" fmla="*/ 2147483647 w 1827"/>
                <a:gd name="T15" fmla="*/ 2147483647 h 5143"/>
                <a:gd name="T16" fmla="*/ 2147483647 w 1827"/>
                <a:gd name="T17" fmla="*/ 2147483647 h 5143"/>
                <a:gd name="T18" fmla="*/ 2147483647 w 1827"/>
                <a:gd name="T19" fmla="*/ 2147483647 h 5143"/>
                <a:gd name="T20" fmla="*/ 2147483647 w 1827"/>
                <a:gd name="T21" fmla="*/ 2147483647 h 5143"/>
                <a:gd name="T22" fmla="*/ 2147483647 w 1827"/>
                <a:gd name="T23" fmla="*/ 2147483647 h 5143"/>
                <a:gd name="T24" fmla="*/ 2147483647 w 1827"/>
                <a:gd name="T25" fmla="*/ 2147483647 h 5143"/>
                <a:gd name="T26" fmla="*/ 2147483647 w 1827"/>
                <a:gd name="T27" fmla="*/ 2147483647 h 5143"/>
                <a:gd name="T28" fmla="*/ 2147483647 w 1827"/>
                <a:gd name="T29" fmla="*/ 2147483647 h 5143"/>
                <a:gd name="T30" fmla="*/ 2147483647 w 1827"/>
                <a:gd name="T31" fmla="*/ 2147483647 h 5143"/>
                <a:gd name="T32" fmla="*/ 2147483647 w 1827"/>
                <a:gd name="T33" fmla="*/ 2147483647 h 5143"/>
                <a:gd name="T34" fmla="*/ 2147483647 w 1827"/>
                <a:gd name="T35" fmla="*/ 2147483647 h 5143"/>
                <a:gd name="T36" fmla="*/ 2147483647 w 1827"/>
                <a:gd name="T37" fmla="*/ 2147483647 h 5143"/>
                <a:gd name="T38" fmla="*/ 2147483647 w 1827"/>
                <a:gd name="T39" fmla="*/ 2147483647 h 5143"/>
                <a:gd name="T40" fmla="*/ 2147483647 w 1827"/>
                <a:gd name="T41" fmla="*/ 2147483647 h 5143"/>
                <a:gd name="T42" fmla="*/ 2147483647 w 1827"/>
                <a:gd name="T43" fmla="*/ 2147483647 h 5143"/>
                <a:gd name="T44" fmla="*/ 2147483647 w 1827"/>
                <a:gd name="T45" fmla="*/ 2147483647 h 5143"/>
                <a:gd name="T46" fmla="*/ 2147483647 w 1827"/>
                <a:gd name="T47" fmla="*/ 2147483647 h 5143"/>
                <a:gd name="T48" fmla="*/ 2147483647 w 1827"/>
                <a:gd name="T49" fmla="*/ 2147483647 h 5143"/>
                <a:gd name="T50" fmla="*/ 2147483647 w 1827"/>
                <a:gd name="T51" fmla="*/ 2147483647 h 5143"/>
                <a:gd name="T52" fmla="*/ 2147483647 w 1827"/>
                <a:gd name="T53" fmla="*/ 2147483647 h 5143"/>
                <a:gd name="T54" fmla="*/ 2147483647 w 1827"/>
                <a:gd name="T55" fmla="*/ 2147483647 h 5143"/>
                <a:gd name="T56" fmla="*/ 2147483647 w 1827"/>
                <a:gd name="T57" fmla="*/ 2147483647 h 5143"/>
                <a:gd name="T58" fmla="*/ 2147483647 w 1827"/>
                <a:gd name="T59" fmla="*/ 2147483647 h 5143"/>
                <a:gd name="T60" fmla="*/ 2147483647 w 1827"/>
                <a:gd name="T61" fmla="*/ 2147483647 h 5143"/>
                <a:gd name="T62" fmla="*/ 2147483647 w 1827"/>
                <a:gd name="T63" fmla="*/ 2147483647 h 5143"/>
                <a:gd name="T64" fmla="*/ 2147483647 w 1827"/>
                <a:gd name="T65" fmla="*/ 2147483647 h 5143"/>
                <a:gd name="T66" fmla="*/ 2147483647 w 1827"/>
                <a:gd name="T67" fmla="*/ 2147483647 h 5143"/>
                <a:gd name="T68" fmla="*/ 2147483647 w 1827"/>
                <a:gd name="T69" fmla="*/ 2147483647 h 5143"/>
                <a:gd name="T70" fmla="*/ 2147483647 w 1827"/>
                <a:gd name="T71" fmla="*/ 2147483647 h 5143"/>
                <a:gd name="T72" fmla="*/ 2147483647 w 1827"/>
                <a:gd name="T73" fmla="*/ 2147483647 h 5143"/>
                <a:gd name="T74" fmla="*/ 2147483647 w 1827"/>
                <a:gd name="T75" fmla="*/ 2147483647 h 5143"/>
                <a:gd name="T76" fmla="*/ 2147483647 w 1827"/>
                <a:gd name="T77" fmla="*/ 2147483647 h 5143"/>
                <a:gd name="T78" fmla="*/ 2147483647 w 1827"/>
                <a:gd name="T79" fmla="*/ 2147483647 h 5143"/>
                <a:gd name="T80" fmla="*/ 2147483647 w 1827"/>
                <a:gd name="T81" fmla="*/ 2147483647 h 5143"/>
                <a:gd name="T82" fmla="*/ 2147483647 w 1827"/>
                <a:gd name="T83" fmla="*/ 2147483647 h 5143"/>
                <a:gd name="T84" fmla="*/ 2147483647 w 1827"/>
                <a:gd name="T85" fmla="*/ 2147483647 h 5143"/>
                <a:gd name="T86" fmla="*/ 2147483647 w 1827"/>
                <a:gd name="T87" fmla="*/ 2147483647 h 5143"/>
                <a:gd name="T88" fmla="*/ 2147483647 w 1827"/>
                <a:gd name="T89" fmla="*/ 2147483647 h 5143"/>
                <a:gd name="T90" fmla="*/ 2147483647 w 1827"/>
                <a:gd name="T91" fmla="*/ 2147483647 h 5143"/>
                <a:gd name="T92" fmla="*/ 2147483647 w 1827"/>
                <a:gd name="T93" fmla="*/ 2147483647 h 5143"/>
                <a:gd name="T94" fmla="*/ 2147483647 w 1827"/>
                <a:gd name="T95" fmla="*/ 2147483647 h 5143"/>
                <a:gd name="T96" fmla="*/ 2147483647 w 1827"/>
                <a:gd name="T97" fmla="*/ 2147483647 h 5143"/>
                <a:gd name="T98" fmla="*/ 2147483647 w 1827"/>
                <a:gd name="T99" fmla="*/ 2147483647 h 5143"/>
                <a:gd name="T100" fmla="*/ 2147483647 w 1827"/>
                <a:gd name="T101" fmla="*/ 2147483647 h 5143"/>
                <a:gd name="T102" fmla="*/ 2147483647 w 1827"/>
                <a:gd name="T103" fmla="*/ 2147483647 h 5143"/>
                <a:gd name="T104" fmla="*/ 2147483647 w 1827"/>
                <a:gd name="T105" fmla="*/ 2147483647 h 5143"/>
                <a:gd name="T106" fmla="*/ 2147483647 w 1827"/>
                <a:gd name="T107" fmla="*/ 2147483647 h 5143"/>
                <a:gd name="T108" fmla="*/ 2147483647 w 1827"/>
                <a:gd name="T109" fmla="*/ 2147483647 h 5143"/>
                <a:gd name="T110" fmla="*/ 2147483647 w 1827"/>
                <a:gd name="T111" fmla="*/ 0 h 51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27"/>
                <a:gd name="T169" fmla="*/ 0 h 5143"/>
                <a:gd name="T170" fmla="*/ 1827 w 1827"/>
                <a:gd name="T171" fmla="*/ 5143 h 514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27" h="5143">
                  <a:moveTo>
                    <a:pt x="207" y="0"/>
                  </a:moveTo>
                  <a:lnTo>
                    <a:pt x="205" y="6"/>
                  </a:lnTo>
                  <a:lnTo>
                    <a:pt x="201" y="23"/>
                  </a:lnTo>
                  <a:lnTo>
                    <a:pt x="193" y="50"/>
                  </a:lnTo>
                  <a:lnTo>
                    <a:pt x="184" y="87"/>
                  </a:lnTo>
                  <a:lnTo>
                    <a:pt x="173" y="132"/>
                  </a:lnTo>
                  <a:lnTo>
                    <a:pt x="161" y="185"/>
                  </a:lnTo>
                  <a:lnTo>
                    <a:pt x="148" y="245"/>
                  </a:lnTo>
                  <a:lnTo>
                    <a:pt x="134" y="310"/>
                  </a:lnTo>
                  <a:lnTo>
                    <a:pt x="118" y="379"/>
                  </a:lnTo>
                  <a:lnTo>
                    <a:pt x="104" y="453"/>
                  </a:lnTo>
                  <a:lnTo>
                    <a:pt x="89" y="530"/>
                  </a:lnTo>
                  <a:lnTo>
                    <a:pt x="76" y="609"/>
                  </a:lnTo>
                  <a:lnTo>
                    <a:pt x="63" y="691"/>
                  </a:lnTo>
                  <a:lnTo>
                    <a:pt x="52" y="771"/>
                  </a:lnTo>
                  <a:lnTo>
                    <a:pt x="41" y="851"/>
                  </a:lnTo>
                  <a:lnTo>
                    <a:pt x="34" y="930"/>
                  </a:lnTo>
                  <a:lnTo>
                    <a:pt x="32" y="967"/>
                  </a:lnTo>
                  <a:lnTo>
                    <a:pt x="33" y="1001"/>
                  </a:lnTo>
                  <a:lnTo>
                    <a:pt x="37" y="1031"/>
                  </a:lnTo>
                  <a:lnTo>
                    <a:pt x="43" y="1060"/>
                  </a:lnTo>
                  <a:lnTo>
                    <a:pt x="53" y="1087"/>
                  </a:lnTo>
                  <a:lnTo>
                    <a:pt x="64" y="1112"/>
                  </a:lnTo>
                  <a:lnTo>
                    <a:pt x="77" y="1136"/>
                  </a:lnTo>
                  <a:lnTo>
                    <a:pt x="91" y="1160"/>
                  </a:lnTo>
                  <a:lnTo>
                    <a:pt x="108" y="1183"/>
                  </a:lnTo>
                  <a:lnTo>
                    <a:pt x="126" y="1206"/>
                  </a:lnTo>
                  <a:lnTo>
                    <a:pt x="146" y="1230"/>
                  </a:lnTo>
                  <a:lnTo>
                    <a:pt x="166" y="1255"/>
                  </a:lnTo>
                  <a:lnTo>
                    <a:pt x="188" y="1281"/>
                  </a:lnTo>
                  <a:lnTo>
                    <a:pt x="211" y="1310"/>
                  </a:lnTo>
                  <a:lnTo>
                    <a:pt x="234" y="1340"/>
                  </a:lnTo>
                  <a:lnTo>
                    <a:pt x="258" y="1373"/>
                  </a:lnTo>
                  <a:lnTo>
                    <a:pt x="283" y="1410"/>
                  </a:lnTo>
                  <a:lnTo>
                    <a:pt x="307" y="1449"/>
                  </a:lnTo>
                  <a:lnTo>
                    <a:pt x="332" y="1493"/>
                  </a:lnTo>
                  <a:lnTo>
                    <a:pt x="357" y="1542"/>
                  </a:lnTo>
                  <a:lnTo>
                    <a:pt x="381" y="1594"/>
                  </a:lnTo>
                  <a:lnTo>
                    <a:pt x="405" y="1653"/>
                  </a:lnTo>
                  <a:lnTo>
                    <a:pt x="429" y="1717"/>
                  </a:lnTo>
                  <a:lnTo>
                    <a:pt x="451" y="1787"/>
                  </a:lnTo>
                  <a:lnTo>
                    <a:pt x="472" y="1864"/>
                  </a:lnTo>
                  <a:lnTo>
                    <a:pt x="494" y="1947"/>
                  </a:lnTo>
                  <a:lnTo>
                    <a:pt x="513" y="2038"/>
                  </a:lnTo>
                  <a:lnTo>
                    <a:pt x="531" y="2136"/>
                  </a:lnTo>
                  <a:lnTo>
                    <a:pt x="547" y="2244"/>
                  </a:lnTo>
                  <a:lnTo>
                    <a:pt x="562" y="2359"/>
                  </a:lnTo>
                  <a:lnTo>
                    <a:pt x="575" y="2484"/>
                  </a:lnTo>
                  <a:lnTo>
                    <a:pt x="586" y="2618"/>
                  </a:lnTo>
                  <a:lnTo>
                    <a:pt x="593" y="2754"/>
                  </a:lnTo>
                  <a:lnTo>
                    <a:pt x="596" y="2882"/>
                  </a:lnTo>
                  <a:lnTo>
                    <a:pt x="595" y="3006"/>
                  </a:lnTo>
                  <a:lnTo>
                    <a:pt x="590" y="3122"/>
                  </a:lnTo>
                  <a:lnTo>
                    <a:pt x="582" y="3234"/>
                  </a:lnTo>
                  <a:lnTo>
                    <a:pt x="570" y="3339"/>
                  </a:lnTo>
                  <a:lnTo>
                    <a:pt x="555" y="3438"/>
                  </a:lnTo>
                  <a:lnTo>
                    <a:pt x="538" y="3533"/>
                  </a:lnTo>
                  <a:lnTo>
                    <a:pt x="518" y="3622"/>
                  </a:lnTo>
                  <a:lnTo>
                    <a:pt x="496" y="3705"/>
                  </a:lnTo>
                  <a:lnTo>
                    <a:pt x="471" y="3784"/>
                  </a:lnTo>
                  <a:lnTo>
                    <a:pt x="446" y="3857"/>
                  </a:lnTo>
                  <a:lnTo>
                    <a:pt x="419" y="3926"/>
                  </a:lnTo>
                  <a:lnTo>
                    <a:pt x="390" y="3990"/>
                  </a:lnTo>
                  <a:lnTo>
                    <a:pt x="361" y="4048"/>
                  </a:lnTo>
                  <a:lnTo>
                    <a:pt x="331" y="4103"/>
                  </a:lnTo>
                  <a:lnTo>
                    <a:pt x="302" y="4154"/>
                  </a:lnTo>
                  <a:lnTo>
                    <a:pt x="272" y="4199"/>
                  </a:lnTo>
                  <a:lnTo>
                    <a:pt x="242" y="4242"/>
                  </a:lnTo>
                  <a:lnTo>
                    <a:pt x="213" y="4279"/>
                  </a:lnTo>
                  <a:lnTo>
                    <a:pt x="184" y="4314"/>
                  </a:lnTo>
                  <a:lnTo>
                    <a:pt x="156" y="4344"/>
                  </a:lnTo>
                  <a:lnTo>
                    <a:pt x="131" y="4372"/>
                  </a:lnTo>
                  <a:lnTo>
                    <a:pt x="106" y="4395"/>
                  </a:lnTo>
                  <a:lnTo>
                    <a:pt x="83" y="4416"/>
                  </a:lnTo>
                  <a:lnTo>
                    <a:pt x="63" y="4433"/>
                  </a:lnTo>
                  <a:lnTo>
                    <a:pt x="44" y="4448"/>
                  </a:lnTo>
                  <a:lnTo>
                    <a:pt x="29" y="4459"/>
                  </a:lnTo>
                  <a:lnTo>
                    <a:pt x="8" y="4473"/>
                  </a:lnTo>
                  <a:lnTo>
                    <a:pt x="0" y="4478"/>
                  </a:lnTo>
                  <a:lnTo>
                    <a:pt x="69" y="4995"/>
                  </a:lnTo>
                  <a:lnTo>
                    <a:pt x="120" y="5010"/>
                  </a:lnTo>
                  <a:lnTo>
                    <a:pt x="172" y="5025"/>
                  </a:lnTo>
                  <a:lnTo>
                    <a:pt x="224" y="5039"/>
                  </a:lnTo>
                  <a:lnTo>
                    <a:pt x="277" y="5054"/>
                  </a:lnTo>
                  <a:lnTo>
                    <a:pt x="328" y="5066"/>
                  </a:lnTo>
                  <a:lnTo>
                    <a:pt x="381" y="5077"/>
                  </a:lnTo>
                  <a:lnTo>
                    <a:pt x="434" y="5088"/>
                  </a:lnTo>
                  <a:lnTo>
                    <a:pt x="487" y="5098"/>
                  </a:lnTo>
                  <a:lnTo>
                    <a:pt x="540" y="5106"/>
                  </a:lnTo>
                  <a:lnTo>
                    <a:pt x="594" y="5114"/>
                  </a:lnTo>
                  <a:lnTo>
                    <a:pt x="648" y="5121"/>
                  </a:lnTo>
                  <a:lnTo>
                    <a:pt x="701" y="5128"/>
                  </a:lnTo>
                  <a:lnTo>
                    <a:pt x="755" y="5133"/>
                  </a:lnTo>
                  <a:lnTo>
                    <a:pt x="809" y="5137"/>
                  </a:lnTo>
                  <a:lnTo>
                    <a:pt x="864" y="5140"/>
                  </a:lnTo>
                  <a:lnTo>
                    <a:pt x="918" y="5142"/>
                  </a:lnTo>
                  <a:lnTo>
                    <a:pt x="973" y="5143"/>
                  </a:lnTo>
                  <a:lnTo>
                    <a:pt x="1029" y="5143"/>
                  </a:lnTo>
                  <a:lnTo>
                    <a:pt x="1084" y="5142"/>
                  </a:lnTo>
                  <a:lnTo>
                    <a:pt x="1139" y="5140"/>
                  </a:lnTo>
                  <a:lnTo>
                    <a:pt x="1195" y="5137"/>
                  </a:lnTo>
                  <a:lnTo>
                    <a:pt x="1252" y="5133"/>
                  </a:lnTo>
                  <a:lnTo>
                    <a:pt x="1308" y="5128"/>
                  </a:lnTo>
                  <a:lnTo>
                    <a:pt x="1364" y="5121"/>
                  </a:lnTo>
                  <a:lnTo>
                    <a:pt x="1421" y="5113"/>
                  </a:lnTo>
                  <a:lnTo>
                    <a:pt x="1479" y="5105"/>
                  </a:lnTo>
                  <a:lnTo>
                    <a:pt x="1536" y="5095"/>
                  </a:lnTo>
                  <a:lnTo>
                    <a:pt x="1594" y="5084"/>
                  </a:lnTo>
                  <a:lnTo>
                    <a:pt x="1651" y="5072"/>
                  </a:lnTo>
                  <a:lnTo>
                    <a:pt x="1709" y="5059"/>
                  </a:lnTo>
                  <a:lnTo>
                    <a:pt x="1768" y="5044"/>
                  </a:lnTo>
                  <a:lnTo>
                    <a:pt x="1827" y="5029"/>
                  </a:lnTo>
                  <a:lnTo>
                    <a:pt x="1806" y="4472"/>
                  </a:lnTo>
                  <a:lnTo>
                    <a:pt x="1804" y="4464"/>
                  </a:lnTo>
                  <a:lnTo>
                    <a:pt x="1799" y="4458"/>
                  </a:lnTo>
                  <a:lnTo>
                    <a:pt x="1790" y="4454"/>
                  </a:lnTo>
                  <a:lnTo>
                    <a:pt x="1779" y="4453"/>
                  </a:lnTo>
                  <a:lnTo>
                    <a:pt x="1764" y="4453"/>
                  </a:lnTo>
                  <a:lnTo>
                    <a:pt x="1747" y="4454"/>
                  </a:lnTo>
                  <a:lnTo>
                    <a:pt x="1727" y="4456"/>
                  </a:lnTo>
                  <a:lnTo>
                    <a:pt x="1705" y="4459"/>
                  </a:lnTo>
                  <a:lnTo>
                    <a:pt x="1655" y="4465"/>
                  </a:lnTo>
                  <a:lnTo>
                    <a:pt x="1599" y="4470"/>
                  </a:lnTo>
                  <a:lnTo>
                    <a:pt x="1568" y="4471"/>
                  </a:lnTo>
                  <a:lnTo>
                    <a:pt x="1536" y="4471"/>
                  </a:lnTo>
                  <a:lnTo>
                    <a:pt x="1503" y="4470"/>
                  </a:lnTo>
                  <a:lnTo>
                    <a:pt x="1470" y="4466"/>
                  </a:lnTo>
                  <a:lnTo>
                    <a:pt x="1435" y="4461"/>
                  </a:lnTo>
                  <a:lnTo>
                    <a:pt x="1400" y="4453"/>
                  </a:lnTo>
                  <a:lnTo>
                    <a:pt x="1365" y="4442"/>
                  </a:lnTo>
                  <a:lnTo>
                    <a:pt x="1330" y="4427"/>
                  </a:lnTo>
                  <a:lnTo>
                    <a:pt x="1294" y="4409"/>
                  </a:lnTo>
                  <a:lnTo>
                    <a:pt x="1260" y="4388"/>
                  </a:lnTo>
                  <a:lnTo>
                    <a:pt x="1226" y="4363"/>
                  </a:lnTo>
                  <a:lnTo>
                    <a:pt x="1192" y="4332"/>
                  </a:lnTo>
                  <a:lnTo>
                    <a:pt x="1159" y="4298"/>
                  </a:lnTo>
                  <a:lnTo>
                    <a:pt x="1126" y="4257"/>
                  </a:lnTo>
                  <a:lnTo>
                    <a:pt x="1096" y="4212"/>
                  </a:lnTo>
                  <a:lnTo>
                    <a:pt x="1066" y="4161"/>
                  </a:lnTo>
                  <a:lnTo>
                    <a:pt x="1038" y="4103"/>
                  </a:lnTo>
                  <a:lnTo>
                    <a:pt x="1012" y="4039"/>
                  </a:lnTo>
                  <a:lnTo>
                    <a:pt x="987" y="3969"/>
                  </a:lnTo>
                  <a:lnTo>
                    <a:pt x="965" y="3892"/>
                  </a:lnTo>
                  <a:lnTo>
                    <a:pt x="944" y="3808"/>
                  </a:lnTo>
                  <a:lnTo>
                    <a:pt x="923" y="3719"/>
                  </a:lnTo>
                  <a:lnTo>
                    <a:pt x="904" y="3625"/>
                  </a:lnTo>
                  <a:lnTo>
                    <a:pt x="886" y="3526"/>
                  </a:lnTo>
                  <a:lnTo>
                    <a:pt x="869" y="3423"/>
                  </a:lnTo>
                  <a:lnTo>
                    <a:pt x="851" y="3317"/>
                  </a:lnTo>
                  <a:lnTo>
                    <a:pt x="836" y="3208"/>
                  </a:lnTo>
                  <a:lnTo>
                    <a:pt x="820" y="3097"/>
                  </a:lnTo>
                  <a:lnTo>
                    <a:pt x="806" y="2985"/>
                  </a:lnTo>
                  <a:lnTo>
                    <a:pt x="793" y="2870"/>
                  </a:lnTo>
                  <a:lnTo>
                    <a:pt x="779" y="2756"/>
                  </a:lnTo>
                  <a:lnTo>
                    <a:pt x="767" y="2641"/>
                  </a:lnTo>
                  <a:lnTo>
                    <a:pt x="755" y="2527"/>
                  </a:lnTo>
                  <a:lnTo>
                    <a:pt x="744" y="2413"/>
                  </a:lnTo>
                  <a:lnTo>
                    <a:pt x="734" y="2301"/>
                  </a:lnTo>
                  <a:lnTo>
                    <a:pt x="725" y="2190"/>
                  </a:lnTo>
                  <a:lnTo>
                    <a:pt x="707" y="1978"/>
                  </a:lnTo>
                  <a:lnTo>
                    <a:pt x="693" y="1781"/>
                  </a:lnTo>
                  <a:lnTo>
                    <a:pt x="681" y="1601"/>
                  </a:lnTo>
                  <a:lnTo>
                    <a:pt x="671" y="1445"/>
                  </a:lnTo>
                  <a:lnTo>
                    <a:pt x="664" y="1317"/>
                  </a:lnTo>
                  <a:lnTo>
                    <a:pt x="659" y="1219"/>
                  </a:lnTo>
                  <a:lnTo>
                    <a:pt x="656" y="1158"/>
                  </a:lnTo>
                  <a:lnTo>
                    <a:pt x="655" y="1136"/>
                  </a:lnTo>
                  <a:lnTo>
                    <a:pt x="207" y="0"/>
                  </a:lnTo>
                  <a:close/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21" name="Freeform 40"/>
            <p:cNvSpPr>
              <a:spLocks/>
            </p:cNvSpPr>
            <p:nvPr/>
          </p:nvSpPr>
          <p:spPr bwMode="auto">
            <a:xfrm>
              <a:off x="3417888" y="3938588"/>
              <a:ext cx="98425" cy="7937"/>
            </a:xfrm>
            <a:custGeom>
              <a:avLst/>
              <a:gdLst>
                <a:gd name="T0" fmla="*/ 0 w 1747"/>
                <a:gd name="T1" fmla="*/ 0 h 151"/>
                <a:gd name="T2" fmla="*/ 2147483647 w 1747"/>
                <a:gd name="T3" fmla="*/ 2147483647 h 151"/>
                <a:gd name="T4" fmla="*/ 2147483647 w 1747"/>
                <a:gd name="T5" fmla="*/ 2147483647 h 151"/>
                <a:gd name="T6" fmla="*/ 2147483647 w 1747"/>
                <a:gd name="T7" fmla="*/ 2147483647 h 151"/>
                <a:gd name="T8" fmla="*/ 2147483647 w 1747"/>
                <a:gd name="T9" fmla="*/ 2147483647 h 151"/>
                <a:gd name="T10" fmla="*/ 2147483647 w 1747"/>
                <a:gd name="T11" fmla="*/ 2147483647 h 151"/>
                <a:gd name="T12" fmla="*/ 2147483647 w 1747"/>
                <a:gd name="T13" fmla="*/ 2147483647 h 151"/>
                <a:gd name="T14" fmla="*/ 2147483647 w 1747"/>
                <a:gd name="T15" fmla="*/ 2147483647 h 151"/>
                <a:gd name="T16" fmla="*/ 2147483647 w 1747"/>
                <a:gd name="T17" fmla="*/ 2147483647 h 151"/>
                <a:gd name="T18" fmla="*/ 2147483647 w 1747"/>
                <a:gd name="T19" fmla="*/ 2147483647 h 151"/>
                <a:gd name="T20" fmla="*/ 2147483647 w 1747"/>
                <a:gd name="T21" fmla="*/ 2147483647 h 151"/>
                <a:gd name="T22" fmla="*/ 2147483647 w 1747"/>
                <a:gd name="T23" fmla="*/ 2147483647 h 151"/>
                <a:gd name="T24" fmla="*/ 2147483647 w 1747"/>
                <a:gd name="T25" fmla="*/ 2147483647 h 151"/>
                <a:gd name="T26" fmla="*/ 2147483647 w 1747"/>
                <a:gd name="T27" fmla="*/ 2147483647 h 151"/>
                <a:gd name="T28" fmla="*/ 2147483647 w 1747"/>
                <a:gd name="T29" fmla="*/ 2147483647 h 151"/>
                <a:gd name="T30" fmla="*/ 2147483647 w 1747"/>
                <a:gd name="T31" fmla="*/ 2147483647 h 151"/>
                <a:gd name="T32" fmla="*/ 2147483647 w 1747"/>
                <a:gd name="T33" fmla="*/ 2147483647 h 151"/>
                <a:gd name="T34" fmla="*/ 2147483647 w 1747"/>
                <a:gd name="T35" fmla="*/ 2147483647 h 151"/>
                <a:gd name="T36" fmla="*/ 2147483647 w 1747"/>
                <a:gd name="T37" fmla="*/ 2147483647 h 151"/>
                <a:gd name="T38" fmla="*/ 2147483647 w 1747"/>
                <a:gd name="T39" fmla="*/ 2147483647 h 151"/>
                <a:gd name="T40" fmla="*/ 2147483647 w 1747"/>
                <a:gd name="T41" fmla="*/ 2147483647 h 151"/>
                <a:gd name="T42" fmla="*/ 2147483647 w 1747"/>
                <a:gd name="T43" fmla="*/ 2147483647 h 151"/>
                <a:gd name="T44" fmla="*/ 2147483647 w 1747"/>
                <a:gd name="T45" fmla="*/ 2147483647 h 151"/>
                <a:gd name="T46" fmla="*/ 2147483647 w 1747"/>
                <a:gd name="T47" fmla="*/ 2147483647 h 151"/>
                <a:gd name="T48" fmla="*/ 2147483647 w 1747"/>
                <a:gd name="T49" fmla="*/ 2147483647 h 151"/>
                <a:gd name="T50" fmla="*/ 2147483647 w 1747"/>
                <a:gd name="T51" fmla="*/ 2147483647 h 151"/>
                <a:gd name="T52" fmla="*/ 2147483647 w 1747"/>
                <a:gd name="T53" fmla="*/ 2147483647 h 151"/>
                <a:gd name="T54" fmla="*/ 2147483647 w 1747"/>
                <a:gd name="T55" fmla="*/ 2147483647 h 151"/>
                <a:gd name="T56" fmla="*/ 2147483647 w 1747"/>
                <a:gd name="T57" fmla="*/ 2147483647 h 151"/>
                <a:gd name="T58" fmla="*/ 2147483647 w 1747"/>
                <a:gd name="T59" fmla="*/ 2147483647 h 151"/>
                <a:gd name="T60" fmla="*/ 2147483647 w 1747"/>
                <a:gd name="T61" fmla="*/ 2147483647 h 151"/>
                <a:gd name="T62" fmla="*/ 2147483647 w 1747"/>
                <a:gd name="T63" fmla="*/ 2147483647 h 151"/>
                <a:gd name="T64" fmla="*/ 2147483647 w 1747"/>
                <a:gd name="T65" fmla="*/ 2147483647 h 151"/>
                <a:gd name="T66" fmla="*/ 2147483647 w 1747"/>
                <a:gd name="T67" fmla="*/ 2147483647 h 151"/>
                <a:gd name="T68" fmla="*/ 2147483647 w 1747"/>
                <a:gd name="T69" fmla="*/ 2147483647 h 151"/>
                <a:gd name="T70" fmla="*/ 2147483647 w 1747"/>
                <a:gd name="T71" fmla="*/ 2147483647 h 151"/>
                <a:gd name="T72" fmla="*/ 2147483647 w 1747"/>
                <a:gd name="T73" fmla="*/ 2147483647 h 151"/>
                <a:gd name="T74" fmla="*/ 2147483647 w 1747"/>
                <a:gd name="T75" fmla="*/ 2147483647 h 151"/>
                <a:gd name="T76" fmla="*/ 2147483647 w 1747"/>
                <a:gd name="T77" fmla="*/ 2147483647 h 151"/>
                <a:gd name="T78" fmla="*/ 2147483647 w 1747"/>
                <a:gd name="T79" fmla="*/ 2147483647 h 151"/>
                <a:gd name="T80" fmla="*/ 2147483647 w 1747"/>
                <a:gd name="T81" fmla="*/ 2147483647 h 151"/>
                <a:gd name="T82" fmla="*/ 2147483647 w 1747"/>
                <a:gd name="T83" fmla="*/ 2147483647 h 151"/>
                <a:gd name="T84" fmla="*/ 2147483647 w 1747"/>
                <a:gd name="T85" fmla="*/ 2147483647 h 151"/>
                <a:gd name="T86" fmla="*/ 2147483647 w 1747"/>
                <a:gd name="T87" fmla="*/ 2147483647 h 151"/>
                <a:gd name="T88" fmla="*/ 2147483647 w 1747"/>
                <a:gd name="T89" fmla="*/ 2147483647 h 151"/>
                <a:gd name="T90" fmla="*/ 2147483647 w 1747"/>
                <a:gd name="T91" fmla="*/ 2147483647 h 151"/>
                <a:gd name="T92" fmla="*/ 2147483647 w 1747"/>
                <a:gd name="T93" fmla="*/ 2147483647 h 151"/>
                <a:gd name="T94" fmla="*/ 2147483647 w 1747"/>
                <a:gd name="T95" fmla="*/ 2147483647 h 151"/>
                <a:gd name="T96" fmla="*/ 2147483647 w 1747"/>
                <a:gd name="T97" fmla="*/ 2147483647 h 151"/>
                <a:gd name="T98" fmla="*/ 2147483647 w 1747"/>
                <a:gd name="T99" fmla="*/ 2147483647 h 151"/>
                <a:gd name="T100" fmla="*/ 2147483647 w 1747"/>
                <a:gd name="T101" fmla="*/ 2147483647 h 151"/>
                <a:gd name="T102" fmla="*/ 2147483647 w 1747"/>
                <a:gd name="T103" fmla="*/ 2147483647 h 151"/>
                <a:gd name="T104" fmla="*/ 2147483647 w 1747"/>
                <a:gd name="T105" fmla="*/ 2147483647 h 15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47"/>
                <a:gd name="T160" fmla="*/ 0 h 151"/>
                <a:gd name="T161" fmla="*/ 1747 w 1747"/>
                <a:gd name="T162" fmla="*/ 151 h 15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47" h="151">
                  <a:moveTo>
                    <a:pt x="0" y="0"/>
                  </a:moveTo>
                  <a:lnTo>
                    <a:pt x="7" y="2"/>
                  </a:lnTo>
                  <a:lnTo>
                    <a:pt x="27" y="8"/>
                  </a:lnTo>
                  <a:lnTo>
                    <a:pt x="62" y="17"/>
                  </a:lnTo>
                  <a:lnTo>
                    <a:pt x="108" y="28"/>
                  </a:lnTo>
                  <a:lnTo>
                    <a:pt x="164" y="42"/>
                  </a:lnTo>
                  <a:lnTo>
                    <a:pt x="231" y="57"/>
                  </a:lnTo>
                  <a:lnTo>
                    <a:pt x="307" y="73"/>
                  </a:lnTo>
                  <a:lnTo>
                    <a:pt x="391" y="89"/>
                  </a:lnTo>
                  <a:lnTo>
                    <a:pt x="436" y="96"/>
                  </a:lnTo>
                  <a:lnTo>
                    <a:pt x="484" y="104"/>
                  </a:lnTo>
                  <a:lnTo>
                    <a:pt x="531" y="111"/>
                  </a:lnTo>
                  <a:lnTo>
                    <a:pt x="582" y="118"/>
                  </a:lnTo>
                  <a:lnTo>
                    <a:pt x="634" y="124"/>
                  </a:lnTo>
                  <a:lnTo>
                    <a:pt x="686" y="130"/>
                  </a:lnTo>
                  <a:lnTo>
                    <a:pt x="740" y="135"/>
                  </a:lnTo>
                  <a:lnTo>
                    <a:pt x="795" y="140"/>
                  </a:lnTo>
                  <a:lnTo>
                    <a:pt x="851" y="144"/>
                  </a:lnTo>
                  <a:lnTo>
                    <a:pt x="908" y="148"/>
                  </a:lnTo>
                  <a:lnTo>
                    <a:pt x="965" y="150"/>
                  </a:lnTo>
                  <a:lnTo>
                    <a:pt x="1024" y="151"/>
                  </a:lnTo>
                  <a:lnTo>
                    <a:pt x="1083" y="151"/>
                  </a:lnTo>
                  <a:lnTo>
                    <a:pt x="1142" y="151"/>
                  </a:lnTo>
                  <a:lnTo>
                    <a:pt x="1201" y="148"/>
                  </a:lnTo>
                  <a:lnTo>
                    <a:pt x="1261" y="144"/>
                  </a:lnTo>
                  <a:lnTo>
                    <a:pt x="1319" y="140"/>
                  </a:lnTo>
                  <a:lnTo>
                    <a:pt x="1372" y="136"/>
                  </a:lnTo>
                  <a:lnTo>
                    <a:pt x="1420" y="131"/>
                  </a:lnTo>
                  <a:lnTo>
                    <a:pt x="1464" y="126"/>
                  </a:lnTo>
                  <a:lnTo>
                    <a:pt x="1505" y="121"/>
                  </a:lnTo>
                  <a:lnTo>
                    <a:pt x="1541" y="116"/>
                  </a:lnTo>
                  <a:lnTo>
                    <a:pt x="1574" y="111"/>
                  </a:lnTo>
                  <a:lnTo>
                    <a:pt x="1603" y="106"/>
                  </a:lnTo>
                  <a:lnTo>
                    <a:pt x="1629" y="101"/>
                  </a:lnTo>
                  <a:lnTo>
                    <a:pt x="1652" y="95"/>
                  </a:lnTo>
                  <a:lnTo>
                    <a:pt x="1672" y="90"/>
                  </a:lnTo>
                  <a:lnTo>
                    <a:pt x="1688" y="84"/>
                  </a:lnTo>
                  <a:lnTo>
                    <a:pt x="1703" y="79"/>
                  </a:lnTo>
                  <a:lnTo>
                    <a:pt x="1715" y="74"/>
                  </a:lnTo>
                  <a:lnTo>
                    <a:pt x="1725" y="68"/>
                  </a:lnTo>
                  <a:lnTo>
                    <a:pt x="1733" y="63"/>
                  </a:lnTo>
                  <a:lnTo>
                    <a:pt x="1739" y="58"/>
                  </a:lnTo>
                  <a:lnTo>
                    <a:pt x="1743" y="53"/>
                  </a:lnTo>
                  <a:lnTo>
                    <a:pt x="1746" y="48"/>
                  </a:lnTo>
                  <a:lnTo>
                    <a:pt x="1747" y="44"/>
                  </a:lnTo>
                  <a:lnTo>
                    <a:pt x="1747" y="40"/>
                  </a:lnTo>
                  <a:lnTo>
                    <a:pt x="1746" y="36"/>
                  </a:lnTo>
                  <a:lnTo>
                    <a:pt x="1745" y="32"/>
                  </a:lnTo>
                  <a:lnTo>
                    <a:pt x="1743" y="28"/>
                  </a:lnTo>
                  <a:lnTo>
                    <a:pt x="1737" y="23"/>
                  </a:lnTo>
                  <a:lnTo>
                    <a:pt x="1732" y="18"/>
                  </a:lnTo>
                  <a:lnTo>
                    <a:pt x="1728" y="15"/>
                  </a:lnTo>
                  <a:lnTo>
                    <a:pt x="1726" y="14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22" name="Freeform 41"/>
            <p:cNvSpPr>
              <a:spLocks/>
            </p:cNvSpPr>
            <p:nvPr/>
          </p:nvSpPr>
          <p:spPr bwMode="auto">
            <a:xfrm>
              <a:off x="3465513" y="3784600"/>
              <a:ext cx="22225" cy="146050"/>
            </a:xfrm>
            <a:custGeom>
              <a:avLst/>
              <a:gdLst>
                <a:gd name="T0" fmla="*/ 2147483647 w 391"/>
                <a:gd name="T1" fmla="*/ 0 h 2601"/>
                <a:gd name="T2" fmla="*/ 2147483647 w 391"/>
                <a:gd name="T3" fmla="*/ 2147483647 h 2601"/>
                <a:gd name="T4" fmla="*/ 2147483647 w 391"/>
                <a:gd name="T5" fmla="*/ 2147483647 h 2601"/>
                <a:gd name="T6" fmla="*/ 2147483647 w 391"/>
                <a:gd name="T7" fmla="*/ 2147483647 h 2601"/>
                <a:gd name="T8" fmla="*/ 2147483647 w 391"/>
                <a:gd name="T9" fmla="*/ 2147483647 h 2601"/>
                <a:gd name="T10" fmla="*/ 2147483647 w 391"/>
                <a:gd name="T11" fmla="*/ 2147483647 h 2601"/>
                <a:gd name="T12" fmla="*/ 2147483647 w 391"/>
                <a:gd name="T13" fmla="*/ 2147483647 h 2601"/>
                <a:gd name="T14" fmla="*/ 2147483647 w 391"/>
                <a:gd name="T15" fmla="*/ 2147483647 h 2601"/>
                <a:gd name="T16" fmla="*/ 2147483647 w 391"/>
                <a:gd name="T17" fmla="*/ 2147483647 h 2601"/>
                <a:gd name="T18" fmla="*/ 2147483647 w 391"/>
                <a:gd name="T19" fmla="*/ 2147483647 h 2601"/>
                <a:gd name="T20" fmla="*/ 2147483647 w 391"/>
                <a:gd name="T21" fmla="*/ 2147483647 h 2601"/>
                <a:gd name="T22" fmla="*/ 2147483647 w 391"/>
                <a:gd name="T23" fmla="*/ 2147483647 h 2601"/>
                <a:gd name="T24" fmla="*/ 2147483647 w 391"/>
                <a:gd name="T25" fmla="*/ 2147483647 h 2601"/>
                <a:gd name="T26" fmla="*/ 2147483647 w 391"/>
                <a:gd name="T27" fmla="*/ 2147483647 h 2601"/>
                <a:gd name="T28" fmla="*/ 0 w 391"/>
                <a:gd name="T29" fmla="*/ 2147483647 h 2601"/>
                <a:gd name="T30" fmla="*/ 0 w 391"/>
                <a:gd name="T31" fmla="*/ 2147483647 h 2601"/>
                <a:gd name="T32" fmla="*/ 2147483647 w 391"/>
                <a:gd name="T33" fmla="*/ 2147483647 h 2601"/>
                <a:gd name="T34" fmla="*/ 2147483647 w 391"/>
                <a:gd name="T35" fmla="*/ 2147483647 h 2601"/>
                <a:gd name="T36" fmla="*/ 2147483647 w 391"/>
                <a:gd name="T37" fmla="*/ 2147483647 h 2601"/>
                <a:gd name="T38" fmla="*/ 2147483647 w 391"/>
                <a:gd name="T39" fmla="*/ 2147483647 h 2601"/>
                <a:gd name="T40" fmla="*/ 2147483647 w 391"/>
                <a:gd name="T41" fmla="*/ 2147483647 h 2601"/>
                <a:gd name="T42" fmla="*/ 2147483647 w 391"/>
                <a:gd name="T43" fmla="*/ 2147483647 h 2601"/>
                <a:gd name="T44" fmla="*/ 2147483647 w 391"/>
                <a:gd name="T45" fmla="*/ 2147483647 h 2601"/>
                <a:gd name="T46" fmla="*/ 2147483647 w 391"/>
                <a:gd name="T47" fmla="*/ 2147483647 h 2601"/>
                <a:gd name="T48" fmla="*/ 2147483647 w 391"/>
                <a:gd name="T49" fmla="*/ 2147483647 h 2601"/>
                <a:gd name="T50" fmla="*/ 2147483647 w 391"/>
                <a:gd name="T51" fmla="*/ 2147483647 h 2601"/>
                <a:gd name="T52" fmla="*/ 2147483647 w 391"/>
                <a:gd name="T53" fmla="*/ 2147483647 h 2601"/>
                <a:gd name="T54" fmla="*/ 2147483647 w 391"/>
                <a:gd name="T55" fmla="*/ 2147483647 h 2601"/>
                <a:gd name="T56" fmla="*/ 2147483647 w 391"/>
                <a:gd name="T57" fmla="*/ 2147483647 h 2601"/>
                <a:gd name="T58" fmla="*/ 2147483647 w 391"/>
                <a:gd name="T59" fmla="*/ 2147483647 h 2601"/>
                <a:gd name="T60" fmla="*/ 2147483647 w 391"/>
                <a:gd name="T61" fmla="*/ 2147483647 h 2601"/>
                <a:gd name="T62" fmla="*/ 2147483647 w 391"/>
                <a:gd name="T63" fmla="*/ 2147483647 h 2601"/>
                <a:gd name="T64" fmla="*/ 2147483647 w 391"/>
                <a:gd name="T65" fmla="*/ 2147483647 h 2601"/>
                <a:gd name="T66" fmla="*/ 2147483647 w 391"/>
                <a:gd name="T67" fmla="*/ 2147483647 h 2601"/>
                <a:gd name="T68" fmla="*/ 2147483647 w 391"/>
                <a:gd name="T69" fmla="*/ 2147483647 h 2601"/>
                <a:gd name="T70" fmla="*/ 2147483647 w 391"/>
                <a:gd name="T71" fmla="*/ 2147483647 h 2601"/>
                <a:gd name="T72" fmla="*/ 2147483647 w 391"/>
                <a:gd name="T73" fmla="*/ 2147483647 h 2601"/>
                <a:gd name="T74" fmla="*/ 2147483647 w 391"/>
                <a:gd name="T75" fmla="*/ 2147483647 h 2601"/>
                <a:gd name="T76" fmla="*/ 2147483647 w 391"/>
                <a:gd name="T77" fmla="*/ 2147483647 h 2601"/>
                <a:gd name="T78" fmla="*/ 2147483647 w 391"/>
                <a:gd name="T79" fmla="*/ 2147483647 h 2601"/>
                <a:gd name="T80" fmla="*/ 2147483647 w 391"/>
                <a:gd name="T81" fmla="*/ 2147483647 h 2601"/>
                <a:gd name="T82" fmla="*/ 2147483647 w 391"/>
                <a:gd name="T83" fmla="*/ 2147483647 h 2601"/>
                <a:gd name="T84" fmla="*/ 2147483647 w 391"/>
                <a:gd name="T85" fmla="*/ 2147483647 h 2601"/>
                <a:gd name="T86" fmla="*/ 2147483647 w 391"/>
                <a:gd name="T87" fmla="*/ 2147483647 h 2601"/>
                <a:gd name="T88" fmla="*/ 2147483647 w 391"/>
                <a:gd name="T89" fmla="*/ 2147483647 h 26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91"/>
                <a:gd name="T136" fmla="*/ 0 h 2601"/>
                <a:gd name="T137" fmla="*/ 391 w 391"/>
                <a:gd name="T138" fmla="*/ 2601 h 26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91" h="2601">
                  <a:moveTo>
                    <a:pt x="90" y="0"/>
                  </a:moveTo>
                  <a:lnTo>
                    <a:pt x="86" y="13"/>
                  </a:lnTo>
                  <a:lnTo>
                    <a:pt x="73" y="49"/>
                  </a:lnTo>
                  <a:lnTo>
                    <a:pt x="64" y="76"/>
                  </a:lnTo>
                  <a:lnTo>
                    <a:pt x="55" y="108"/>
                  </a:lnTo>
                  <a:lnTo>
                    <a:pt x="46" y="146"/>
                  </a:lnTo>
                  <a:lnTo>
                    <a:pt x="36" y="187"/>
                  </a:lnTo>
                  <a:lnTo>
                    <a:pt x="27" y="235"/>
                  </a:lnTo>
                  <a:lnTo>
                    <a:pt x="19" y="287"/>
                  </a:lnTo>
                  <a:lnTo>
                    <a:pt x="12" y="343"/>
                  </a:lnTo>
                  <a:lnTo>
                    <a:pt x="6" y="404"/>
                  </a:lnTo>
                  <a:lnTo>
                    <a:pt x="4" y="436"/>
                  </a:lnTo>
                  <a:lnTo>
                    <a:pt x="2" y="469"/>
                  </a:lnTo>
                  <a:lnTo>
                    <a:pt x="1" y="502"/>
                  </a:lnTo>
                  <a:lnTo>
                    <a:pt x="0" y="538"/>
                  </a:lnTo>
                  <a:lnTo>
                    <a:pt x="0" y="573"/>
                  </a:lnTo>
                  <a:lnTo>
                    <a:pt x="1" y="610"/>
                  </a:lnTo>
                  <a:lnTo>
                    <a:pt x="2" y="647"/>
                  </a:lnTo>
                  <a:lnTo>
                    <a:pt x="5" y="686"/>
                  </a:lnTo>
                  <a:lnTo>
                    <a:pt x="10" y="773"/>
                  </a:lnTo>
                  <a:lnTo>
                    <a:pt x="15" y="877"/>
                  </a:lnTo>
                  <a:lnTo>
                    <a:pt x="21" y="996"/>
                  </a:lnTo>
                  <a:lnTo>
                    <a:pt x="29" y="1126"/>
                  </a:lnTo>
                  <a:lnTo>
                    <a:pt x="37" y="1265"/>
                  </a:lnTo>
                  <a:lnTo>
                    <a:pt x="48" y="1410"/>
                  </a:lnTo>
                  <a:lnTo>
                    <a:pt x="55" y="1484"/>
                  </a:lnTo>
                  <a:lnTo>
                    <a:pt x="62" y="1559"/>
                  </a:lnTo>
                  <a:lnTo>
                    <a:pt x="71" y="1633"/>
                  </a:lnTo>
                  <a:lnTo>
                    <a:pt x="80" y="1708"/>
                  </a:lnTo>
                  <a:lnTo>
                    <a:pt x="89" y="1782"/>
                  </a:lnTo>
                  <a:lnTo>
                    <a:pt x="100" y="1855"/>
                  </a:lnTo>
                  <a:lnTo>
                    <a:pt x="112" y="1927"/>
                  </a:lnTo>
                  <a:lnTo>
                    <a:pt x="125" y="1998"/>
                  </a:lnTo>
                  <a:lnTo>
                    <a:pt x="139" y="2067"/>
                  </a:lnTo>
                  <a:lnTo>
                    <a:pt x="155" y="2133"/>
                  </a:lnTo>
                  <a:lnTo>
                    <a:pt x="171" y="2197"/>
                  </a:lnTo>
                  <a:lnTo>
                    <a:pt x="189" y="2257"/>
                  </a:lnTo>
                  <a:lnTo>
                    <a:pt x="208" y="2316"/>
                  </a:lnTo>
                  <a:lnTo>
                    <a:pt x="230" y="2370"/>
                  </a:lnTo>
                  <a:lnTo>
                    <a:pt x="252" y="2421"/>
                  </a:lnTo>
                  <a:lnTo>
                    <a:pt x="276" y="2466"/>
                  </a:lnTo>
                  <a:lnTo>
                    <a:pt x="303" y="2508"/>
                  </a:lnTo>
                  <a:lnTo>
                    <a:pt x="330" y="2544"/>
                  </a:lnTo>
                  <a:lnTo>
                    <a:pt x="359" y="2576"/>
                  </a:lnTo>
                  <a:lnTo>
                    <a:pt x="391" y="2601"/>
                  </a:lnTo>
                </a:path>
              </a:pathLst>
            </a:custGeom>
            <a:noFill/>
            <a:ln w="1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423" name="Freeform 42"/>
            <p:cNvSpPr>
              <a:spLocks/>
            </p:cNvSpPr>
            <p:nvPr/>
          </p:nvSpPr>
          <p:spPr bwMode="auto">
            <a:xfrm>
              <a:off x="3938588" y="3932238"/>
              <a:ext cx="171450" cy="87312"/>
            </a:xfrm>
            <a:custGeom>
              <a:avLst/>
              <a:gdLst>
                <a:gd name="T0" fmla="*/ 2147483647 w 3027"/>
                <a:gd name="T1" fmla="*/ 2147483647 h 1525"/>
                <a:gd name="T2" fmla="*/ 2147483647 w 3027"/>
                <a:gd name="T3" fmla="*/ 2147483647 h 1525"/>
                <a:gd name="T4" fmla="*/ 2147483647 w 3027"/>
                <a:gd name="T5" fmla="*/ 2147483647 h 1525"/>
                <a:gd name="T6" fmla="*/ 0 w 3027"/>
                <a:gd name="T7" fmla="*/ 2147483647 h 1525"/>
                <a:gd name="T8" fmla="*/ 0 w 3027"/>
                <a:gd name="T9" fmla="*/ 2147483647 h 1525"/>
                <a:gd name="T10" fmla="*/ 2147483647 w 3027"/>
                <a:gd name="T11" fmla="*/ 2147483647 h 1525"/>
                <a:gd name="T12" fmla="*/ 2147483647 w 3027"/>
                <a:gd name="T13" fmla="*/ 2147483647 h 1525"/>
                <a:gd name="T14" fmla="*/ 2147483647 w 3027"/>
                <a:gd name="T15" fmla="*/ 2147483647 h 1525"/>
                <a:gd name="T16" fmla="*/ 2147483647 w 3027"/>
                <a:gd name="T17" fmla="*/ 2147483647 h 1525"/>
                <a:gd name="T18" fmla="*/ 2147483647 w 3027"/>
                <a:gd name="T19" fmla="*/ 2147483647 h 1525"/>
                <a:gd name="T20" fmla="*/ 2147483647 w 3027"/>
                <a:gd name="T21" fmla="*/ 2147483647 h 1525"/>
                <a:gd name="T22" fmla="*/ 2147483647 w 3027"/>
                <a:gd name="T23" fmla="*/ 2147483647 h 1525"/>
                <a:gd name="T24" fmla="*/ 2147483647 w 3027"/>
                <a:gd name="T25" fmla="*/ 2147483647 h 1525"/>
                <a:gd name="T26" fmla="*/ 2147483647 w 3027"/>
                <a:gd name="T27" fmla="*/ 2147483647 h 1525"/>
                <a:gd name="T28" fmla="*/ 2147483647 w 3027"/>
                <a:gd name="T29" fmla="*/ 2147483647 h 1525"/>
                <a:gd name="T30" fmla="*/ 2147483647 w 3027"/>
                <a:gd name="T31" fmla="*/ 2147483647 h 1525"/>
                <a:gd name="T32" fmla="*/ 2147483647 w 3027"/>
                <a:gd name="T33" fmla="*/ 2147483647 h 1525"/>
                <a:gd name="T34" fmla="*/ 2147483647 w 3027"/>
                <a:gd name="T35" fmla="*/ 2147483647 h 1525"/>
                <a:gd name="T36" fmla="*/ 2147483647 w 3027"/>
                <a:gd name="T37" fmla="*/ 2147483647 h 1525"/>
                <a:gd name="T38" fmla="*/ 2147483647 w 3027"/>
                <a:gd name="T39" fmla="*/ 2147483647 h 1525"/>
                <a:gd name="T40" fmla="*/ 2147483647 w 3027"/>
                <a:gd name="T41" fmla="*/ 0 h 1525"/>
                <a:gd name="T42" fmla="*/ 2147483647 w 3027"/>
                <a:gd name="T43" fmla="*/ 2147483647 h 152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027"/>
                <a:gd name="T67" fmla="*/ 0 h 1525"/>
                <a:gd name="T68" fmla="*/ 3027 w 3027"/>
                <a:gd name="T69" fmla="*/ 1525 h 152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027" h="1525">
                  <a:moveTo>
                    <a:pt x="11" y="1060"/>
                  </a:moveTo>
                  <a:lnTo>
                    <a:pt x="6" y="1064"/>
                  </a:lnTo>
                  <a:lnTo>
                    <a:pt x="2" y="1070"/>
                  </a:lnTo>
                  <a:lnTo>
                    <a:pt x="0" y="1077"/>
                  </a:lnTo>
                  <a:lnTo>
                    <a:pt x="0" y="1087"/>
                  </a:lnTo>
                  <a:lnTo>
                    <a:pt x="1" y="1100"/>
                  </a:lnTo>
                  <a:lnTo>
                    <a:pt x="4" y="1113"/>
                  </a:lnTo>
                  <a:lnTo>
                    <a:pt x="8" y="1128"/>
                  </a:lnTo>
                  <a:lnTo>
                    <a:pt x="13" y="1144"/>
                  </a:lnTo>
                  <a:lnTo>
                    <a:pt x="28" y="1180"/>
                  </a:lnTo>
                  <a:lnTo>
                    <a:pt x="45" y="1218"/>
                  </a:lnTo>
                  <a:lnTo>
                    <a:pt x="65" y="1260"/>
                  </a:lnTo>
                  <a:lnTo>
                    <a:pt x="87" y="1302"/>
                  </a:lnTo>
                  <a:lnTo>
                    <a:pt x="110" y="1345"/>
                  </a:lnTo>
                  <a:lnTo>
                    <a:pt x="133" y="1385"/>
                  </a:lnTo>
                  <a:lnTo>
                    <a:pt x="154" y="1423"/>
                  </a:lnTo>
                  <a:lnTo>
                    <a:pt x="175" y="1456"/>
                  </a:lnTo>
                  <a:lnTo>
                    <a:pt x="205" y="1506"/>
                  </a:lnTo>
                  <a:lnTo>
                    <a:pt x="216" y="1525"/>
                  </a:lnTo>
                  <a:lnTo>
                    <a:pt x="2933" y="381"/>
                  </a:lnTo>
                  <a:lnTo>
                    <a:pt x="3027" y="0"/>
                  </a:lnTo>
                  <a:lnTo>
                    <a:pt x="11" y="10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4317" name="Rectangle 39"/>
          <p:cNvSpPr>
            <a:spLocks noChangeArrowheads="1"/>
          </p:cNvSpPr>
          <p:nvPr/>
        </p:nvSpPr>
        <p:spPr bwMode="auto">
          <a:xfrm>
            <a:off x="6373813" y="1773238"/>
            <a:ext cx="2770187" cy="433387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При работе ДЦ</a:t>
            </a:r>
            <a:r>
              <a:rPr lang="en-US" sz="2000">
                <a:solidFill>
                  <a:schemeClr val="tx1">
                    <a:lumMod val="50000"/>
                    <a:lumOff val="50000"/>
                  </a:schemeClr>
                </a:solidFill>
              </a:rPr>
              <a:t>    </a:t>
            </a:r>
            <a:endParaRPr lang="ru-RU" sz="2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54318" name="Прямая со стрелкой 160"/>
          <p:cNvCxnSpPr>
            <a:cxnSpLocks noChangeShapeType="1"/>
          </p:cNvCxnSpPr>
          <p:nvPr/>
        </p:nvCxnSpPr>
        <p:spPr bwMode="auto">
          <a:xfrm>
            <a:off x="4227513" y="2092325"/>
            <a:ext cx="46037" cy="4267200"/>
          </a:xfrm>
          <a:prstGeom prst="straightConnector1">
            <a:avLst/>
          </a:prstGeom>
          <a:noFill/>
          <a:ln w="9525" algn="ctr">
            <a:solidFill>
              <a:srgbClr val="2E62CB"/>
            </a:solidFill>
            <a:prstDash val="dash"/>
            <a:round/>
            <a:headEnd/>
            <a:tailEnd type="none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54319" name="Group 197"/>
          <p:cNvGrpSpPr>
            <a:grpSpLocks noChangeAspect="1"/>
          </p:cNvGrpSpPr>
          <p:nvPr/>
        </p:nvGrpSpPr>
        <p:grpSpPr bwMode="auto">
          <a:xfrm>
            <a:off x="2273300" y="2843213"/>
            <a:ext cx="604838" cy="503237"/>
            <a:chOff x="1432" y="1791"/>
            <a:chExt cx="381" cy="317"/>
          </a:xfrm>
        </p:grpSpPr>
        <p:sp>
          <p:nvSpPr>
            <p:cNvPr id="54331" name="AutoShape 198"/>
            <p:cNvSpPr>
              <a:spLocks noChangeAspect="1" noChangeArrowheads="1" noTextEdit="1"/>
            </p:cNvSpPr>
            <p:nvPr/>
          </p:nvSpPr>
          <p:spPr bwMode="auto">
            <a:xfrm>
              <a:off x="1432" y="1791"/>
              <a:ext cx="381" cy="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2" name="Freeform 199"/>
            <p:cNvSpPr>
              <a:spLocks/>
            </p:cNvSpPr>
            <p:nvPr/>
          </p:nvSpPr>
          <p:spPr bwMode="auto">
            <a:xfrm>
              <a:off x="1432" y="1791"/>
              <a:ext cx="381" cy="317"/>
            </a:xfrm>
            <a:custGeom>
              <a:avLst/>
              <a:gdLst>
                <a:gd name="T0" fmla="*/ 0 w 16002"/>
                <a:gd name="T1" fmla="*/ 0 h 13631"/>
                <a:gd name="T2" fmla="*/ 0 w 16002"/>
                <a:gd name="T3" fmla="*/ 0 h 13631"/>
                <a:gd name="T4" fmla="*/ 0 w 16002"/>
                <a:gd name="T5" fmla="*/ 0 h 13631"/>
                <a:gd name="T6" fmla="*/ 0 w 16002"/>
                <a:gd name="T7" fmla="*/ 0 h 13631"/>
                <a:gd name="T8" fmla="*/ 0 w 16002"/>
                <a:gd name="T9" fmla="*/ 0 h 13631"/>
                <a:gd name="T10" fmla="*/ 0 w 16002"/>
                <a:gd name="T11" fmla="*/ 0 h 13631"/>
                <a:gd name="T12" fmla="*/ 0 w 16002"/>
                <a:gd name="T13" fmla="*/ 0 h 13631"/>
                <a:gd name="T14" fmla="*/ 0 w 16002"/>
                <a:gd name="T15" fmla="*/ 0 h 13631"/>
                <a:gd name="T16" fmla="*/ 0 w 16002"/>
                <a:gd name="T17" fmla="*/ 0 h 13631"/>
                <a:gd name="T18" fmla="*/ 0 w 16002"/>
                <a:gd name="T19" fmla="*/ 0 h 13631"/>
                <a:gd name="T20" fmla="*/ 0 w 16002"/>
                <a:gd name="T21" fmla="*/ 0 h 13631"/>
                <a:gd name="T22" fmla="*/ 0 w 16002"/>
                <a:gd name="T23" fmla="*/ 0 h 13631"/>
                <a:gd name="T24" fmla="*/ 0 w 16002"/>
                <a:gd name="T25" fmla="*/ 0 h 13631"/>
                <a:gd name="T26" fmla="*/ 0 w 16002"/>
                <a:gd name="T27" fmla="*/ 0 h 13631"/>
                <a:gd name="T28" fmla="*/ 0 w 16002"/>
                <a:gd name="T29" fmla="*/ 0 h 13631"/>
                <a:gd name="T30" fmla="*/ 0 w 16002"/>
                <a:gd name="T31" fmla="*/ 0 h 13631"/>
                <a:gd name="T32" fmla="*/ 0 w 16002"/>
                <a:gd name="T33" fmla="*/ 0 h 13631"/>
                <a:gd name="T34" fmla="*/ 0 w 16002"/>
                <a:gd name="T35" fmla="*/ 0 h 13631"/>
                <a:gd name="T36" fmla="*/ 0 w 16002"/>
                <a:gd name="T37" fmla="*/ 0 h 13631"/>
                <a:gd name="T38" fmla="*/ 0 w 16002"/>
                <a:gd name="T39" fmla="*/ 0 h 13631"/>
                <a:gd name="T40" fmla="*/ 0 w 16002"/>
                <a:gd name="T41" fmla="*/ 0 h 13631"/>
                <a:gd name="T42" fmla="*/ 0 w 16002"/>
                <a:gd name="T43" fmla="*/ 0 h 13631"/>
                <a:gd name="T44" fmla="*/ 0 w 16002"/>
                <a:gd name="T45" fmla="*/ 0 h 13631"/>
                <a:gd name="T46" fmla="*/ 0 w 16002"/>
                <a:gd name="T47" fmla="*/ 0 h 13631"/>
                <a:gd name="T48" fmla="*/ 0 w 16002"/>
                <a:gd name="T49" fmla="*/ 0 h 13631"/>
                <a:gd name="T50" fmla="*/ 0 w 16002"/>
                <a:gd name="T51" fmla="*/ 0 h 13631"/>
                <a:gd name="T52" fmla="*/ 0 w 16002"/>
                <a:gd name="T53" fmla="*/ 0 h 13631"/>
                <a:gd name="T54" fmla="*/ 0 w 16002"/>
                <a:gd name="T55" fmla="*/ 0 h 13631"/>
                <a:gd name="T56" fmla="*/ 0 w 16002"/>
                <a:gd name="T57" fmla="*/ 0 h 13631"/>
                <a:gd name="T58" fmla="*/ 0 w 16002"/>
                <a:gd name="T59" fmla="*/ 0 h 13631"/>
                <a:gd name="T60" fmla="*/ 0 w 16002"/>
                <a:gd name="T61" fmla="*/ 0 h 13631"/>
                <a:gd name="T62" fmla="*/ 0 w 16002"/>
                <a:gd name="T63" fmla="*/ 0 h 13631"/>
                <a:gd name="T64" fmla="*/ 0 w 16002"/>
                <a:gd name="T65" fmla="*/ 0 h 13631"/>
                <a:gd name="T66" fmla="*/ 0 w 16002"/>
                <a:gd name="T67" fmla="*/ 0 h 13631"/>
                <a:gd name="T68" fmla="*/ 0 w 16002"/>
                <a:gd name="T69" fmla="*/ 0 h 13631"/>
                <a:gd name="T70" fmla="*/ 0 w 16002"/>
                <a:gd name="T71" fmla="*/ 0 h 13631"/>
                <a:gd name="T72" fmla="*/ 0 w 16002"/>
                <a:gd name="T73" fmla="*/ 0 h 13631"/>
                <a:gd name="T74" fmla="*/ 0 w 16002"/>
                <a:gd name="T75" fmla="*/ 0 h 13631"/>
                <a:gd name="T76" fmla="*/ 0 w 16002"/>
                <a:gd name="T77" fmla="*/ 0 h 13631"/>
                <a:gd name="T78" fmla="*/ 0 w 16002"/>
                <a:gd name="T79" fmla="*/ 0 h 13631"/>
                <a:gd name="T80" fmla="*/ 0 w 16002"/>
                <a:gd name="T81" fmla="*/ 0 h 13631"/>
                <a:gd name="T82" fmla="*/ 0 w 16002"/>
                <a:gd name="T83" fmla="*/ 0 h 13631"/>
                <a:gd name="T84" fmla="*/ 0 w 16002"/>
                <a:gd name="T85" fmla="*/ 0 h 13631"/>
                <a:gd name="T86" fmla="*/ 0 w 16002"/>
                <a:gd name="T87" fmla="*/ 0 h 13631"/>
                <a:gd name="T88" fmla="*/ 0 w 16002"/>
                <a:gd name="T89" fmla="*/ 0 h 13631"/>
                <a:gd name="T90" fmla="*/ 0 w 16002"/>
                <a:gd name="T91" fmla="*/ 0 h 13631"/>
                <a:gd name="T92" fmla="*/ 0 w 16002"/>
                <a:gd name="T93" fmla="*/ 0 h 13631"/>
                <a:gd name="T94" fmla="*/ 0 w 16002"/>
                <a:gd name="T95" fmla="*/ 0 h 13631"/>
                <a:gd name="T96" fmla="*/ 0 w 16002"/>
                <a:gd name="T97" fmla="*/ 0 h 13631"/>
                <a:gd name="T98" fmla="*/ 0 w 16002"/>
                <a:gd name="T99" fmla="*/ 0 h 13631"/>
                <a:gd name="T100" fmla="*/ 0 w 16002"/>
                <a:gd name="T101" fmla="*/ 0 h 13631"/>
                <a:gd name="T102" fmla="*/ 0 w 16002"/>
                <a:gd name="T103" fmla="*/ 0 h 13631"/>
                <a:gd name="T104" fmla="*/ 0 w 16002"/>
                <a:gd name="T105" fmla="*/ 0 h 13631"/>
                <a:gd name="T106" fmla="*/ 0 w 16002"/>
                <a:gd name="T107" fmla="*/ 0 h 13631"/>
                <a:gd name="T108" fmla="*/ 0 w 16002"/>
                <a:gd name="T109" fmla="*/ 0 h 13631"/>
                <a:gd name="T110" fmla="*/ 0 w 16002"/>
                <a:gd name="T111" fmla="*/ 0 h 13631"/>
                <a:gd name="T112" fmla="*/ 0 w 16002"/>
                <a:gd name="T113" fmla="*/ 0 h 13631"/>
                <a:gd name="T114" fmla="*/ 0 w 16002"/>
                <a:gd name="T115" fmla="*/ 0 h 13631"/>
                <a:gd name="T116" fmla="*/ 0 w 16002"/>
                <a:gd name="T117" fmla="*/ 0 h 13631"/>
                <a:gd name="T118" fmla="*/ 0 w 16002"/>
                <a:gd name="T119" fmla="*/ 0 h 13631"/>
                <a:gd name="T120" fmla="*/ 0 w 16002"/>
                <a:gd name="T121" fmla="*/ 0 h 136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02"/>
                <a:gd name="T184" fmla="*/ 0 h 13631"/>
                <a:gd name="T185" fmla="*/ 16002 w 16002"/>
                <a:gd name="T186" fmla="*/ 13631 h 1363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02" h="13631">
                  <a:moveTo>
                    <a:pt x="5356" y="6383"/>
                  </a:moveTo>
                  <a:lnTo>
                    <a:pt x="5389" y="5689"/>
                  </a:lnTo>
                  <a:lnTo>
                    <a:pt x="5464" y="5036"/>
                  </a:lnTo>
                  <a:lnTo>
                    <a:pt x="5578" y="4425"/>
                  </a:lnTo>
                  <a:lnTo>
                    <a:pt x="5728" y="3855"/>
                  </a:lnTo>
                  <a:lnTo>
                    <a:pt x="5912" y="3325"/>
                  </a:lnTo>
                  <a:lnTo>
                    <a:pt x="6129" y="2835"/>
                  </a:lnTo>
                  <a:lnTo>
                    <a:pt x="6375" y="2386"/>
                  </a:lnTo>
                  <a:lnTo>
                    <a:pt x="6648" y="1977"/>
                  </a:lnTo>
                  <a:lnTo>
                    <a:pt x="6946" y="1608"/>
                  </a:lnTo>
                  <a:lnTo>
                    <a:pt x="7267" y="1277"/>
                  </a:lnTo>
                  <a:lnTo>
                    <a:pt x="7609" y="986"/>
                  </a:lnTo>
                  <a:lnTo>
                    <a:pt x="7968" y="733"/>
                  </a:lnTo>
                  <a:lnTo>
                    <a:pt x="8343" y="517"/>
                  </a:lnTo>
                  <a:lnTo>
                    <a:pt x="8731" y="340"/>
                  </a:lnTo>
                  <a:lnTo>
                    <a:pt x="9130" y="199"/>
                  </a:lnTo>
                  <a:lnTo>
                    <a:pt x="9539" y="96"/>
                  </a:lnTo>
                  <a:lnTo>
                    <a:pt x="9953" y="30"/>
                  </a:lnTo>
                  <a:lnTo>
                    <a:pt x="10372" y="0"/>
                  </a:lnTo>
                  <a:lnTo>
                    <a:pt x="10792" y="6"/>
                  </a:lnTo>
                  <a:lnTo>
                    <a:pt x="11212" y="48"/>
                  </a:lnTo>
                  <a:lnTo>
                    <a:pt x="11629" y="125"/>
                  </a:lnTo>
                  <a:lnTo>
                    <a:pt x="12042" y="239"/>
                  </a:lnTo>
                  <a:lnTo>
                    <a:pt x="12446" y="386"/>
                  </a:lnTo>
                  <a:lnTo>
                    <a:pt x="12840" y="567"/>
                  </a:lnTo>
                  <a:lnTo>
                    <a:pt x="13223" y="783"/>
                  </a:lnTo>
                  <a:lnTo>
                    <a:pt x="13591" y="1033"/>
                  </a:lnTo>
                  <a:lnTo>
                    <a:pt x="13942" y="1315"/>
                  </a:lnTo>
                  <a:lnTo>
                    <a:pt x="14274" y="1631"/>
                  </a:lnTo>
                  <a:lnTo>
                    <a:pt x="14584" y="1980"/>
                  </a:lnTo>
                  <a:lnTo>
                    <a:pt x="14871" y="2361"/>
                  </a:lnTo>
                  <a:lnTo>
                    <a:pt x="15132" y="2774"/>
                  </a:lnTo>
                  <a:lnTo>
                    <a:pt x="15364" y="3219"/>
                  </a:lnTo>
                  <a:lnTo>
                    <a:pt x="15497" y="3521"/>
                  </a:lnTo>
                  <a:lnTo>
                    <a:pt x="15615" y="3834"/>
                  </a:lnTo>
                  <a:lnTo>
                    <a:pt x="15720" y="4157"/>
                  </a:lnTo>
                  <a:lnTo>
                    <a:pt x="15809" y="4488"/>
                  </a:lnTo>
                  <a:lnTo>
                    <a:pt x="15881" y="4826"/>
                  </a:lnTo>
                  <a:lnTo>
                    <a:pt x="15938" y="5170"/>
                  </a:lnTo>
                  <a:lnTo>
                    <a:pt x="15977" y="5518"/>
                  </a:lnTo>
                  <a:lnTo>
                    <a:pt x="15999" y="5869"/>
                  </a:lnTo>
                  <a:lnTo>
                    <a:pt x="16002" y="6220"/>
                  </a:lnTo>
                  <a:lnTo>
                    <a:pt x="15986" y="6572"/>
                  </a:lnTo>
                  <a:lnTo>
                    <a:pt x="15950" y="6922"/>
                  </a:lnTo>
                  <a:lnTo>
                    <a:pt x="15894" y="7267"/>
                  </a:lnTo>
                  <a:lnTo>
                    <a:pt x="15816" y="7609"/>
                  </a:lnTo>
                  <a:lnTo>
                    <a:pt x="15717" y="7945"/>
                  </a:lnTo>
                  <a:lnTo>
                    <a:pt x="15596" y="8273"/>
                  </a:lnTo>
                  <a:lnTo>
                    <a:pt x="15451" y="8593"/>
                  </a:lnTo>
                  <a:lnTo>
                    <a:pt x="15283" y="8902"/>
                  </a:lnTo>
                  <a:lnTo>
                    <a:pt x="15090" y="9199"/>
                  </a:lnTo>
                  <a:lnTo>
                    <a:pt x="14873" y="9482"/>
                  </a:lnTo>
                  <a:lnTo>
                    <a:pt x="14630" y="9751"/>
                  </a:lnTo>
                  <a:lnTo>
                    <a:pt x="14360" y="10003"/>
                  </a:lnTo>
                  <a:lnTo>
                    <a:pt x="14064" y="10238"/>
                  </a:lnTo>
                  <a:lnTo>
                    <a:pt x="13740" y="10453"/>
                  </a:lnTo>
                  <a:lnTo>
                    <a:pt x="13388" y="10648"/>
                  </a:lnTo>
                  <a:lnTo>
                    <a:pt x="13007" y="10820"/>
                  </a:lnTo>
                  <a:lnTo>
                    <a:pt x="12596" y="10969"/>
                  </a:lnTo>
                  <a:lnTo>
                    <a:pt x="12155" y="11093"/>
                  </a:lnTo>
                  <a:lnTo>
                    <a:pt x="11683" y="11190"/>
                  </a:lnTo>
                  <a:lnTo>
                    <a:pt x="11180" y="11260"/>
                  </a:lnTo>
                  <a:lnTo>
                    <a:pt x="10644" y="11300"/>
                  </a:lnTo>
                  <a:lnTo>
                    <a:pt x="10076" y="11309"/>
                  </a:lnTo>
                  <a:lnTo>
                    <a:pt x="9475" y="11286"/>
                  </a:lnTo>
                  <a:lnTo>
                    <a:pt x="9357" y="11284"/>
                  </a:lnTo>
                  <a:lnTo>
                    <a:pt x="9240" y="11294"/>
                  </a:lnTo>
                  <a:lnTo>
                    <a:pt x="9123" y="11313"/>
                  </a:lnTo>
                  <a:lnTo>
                    <a:pt x="9007" y="11341"/>
                  </a:lnTo>
                  <a:lnTo>
                    <a:pt x="8892" y="11380"/>
                  </a:lnTo>
                  <a:lnTo>
                    <a:pt x="8777" y="11426"/>
                  </a:lnTo>
                  <a:lnTo>
                    <a:pt x="8663" y="11480"/>
                  </a:lnTo>
                  <a:lnTo>
                    <a:pt x="8550" y="11541"/>
                  </a:lnTo>
                  <a:lnTo>
                    <a:pt x="8437" y="11609"/>
                  </a:lnTo>
                  <a:lnTo>
                    <a:pt x="8325" y="11681"/>
                  </a:lnTo>
                  <a:lnTo>
                    <a:pt x="8213" y="11760"/>
                  </a:lnTo>
                  <a:lnTo>
                    <a:pt x="8102" y="11841"/>
                  </a:lnTo>
                  <a:lnTo>
                    <a:pt x="7991" y="11928"/>
                  </a:lnTo>
                  <a:lnTo>
                    <a:pt x="7881" y="12017"/>
                  </a:lnTo>
                  <a:lnTo>
                    <a:pt x="7772" y="12109"/>
                  </a:lnTo>
                  <a:lnTo>
                    <a:pt x="7663" y="12202"/>
                  </a:lnTo>
                  <a:lnTo>
                    <a:pt x="7446" y="12390"/>
                  </a:lnTo>
                  <a:lnTo>
                    <a:pt x="7231" y="12578"/>
                  </a:lnTo>
                  <a:lnTo>
                    <a:pt x="7124" y="12671"/>
                  </a:lnTo>
                  <a:lnTo>
                    <a:pt x="7018" y="12760"/>
                  </a:lnTo>
                  <a:lnTo>
                    <a:pt x="6912" y="12846"/>
                  </a:lnTo>
                  <a:lnTo>
                    <a:pt x="6806" y="12930"/>
                  </a:lnTo>
                  <a:lnTo>
                    <a:pt x="6701" y="13009"/>
                  </a:lnTo>
                  <a:lnTo>
                    <a:pt x="6596" y="13083"/>
                  </a:lnTo>
                  <a:lnTo>
                    <a:pt x="6492" y="13151"/>
                  </a:lnTo>
                  <a:lnTo>
                    <a:pt x="6387" y="13214"/>
                  </a:lnTo>
                  <a:lnTo>
                    <a:pt x="6283" y="13270"/>
                  </a:lnTo>
                  <a:lnTo>
                    <a:pt x="6180" y="13317"/>
                  </a:lnTo>
                  <a:lnTo>
                    <a:pt x="6077" y="13357"/>
                  </a:lnTo>
                  <a:lnTo>
                    <a:pt x="5974" y="13388"/>
                  </a:lnTo>
                  <a:lnTo>
                    <a:pt x="5844" y="13419"/>
                  </a:lnTo>
                  <a:lnTo>
                    <a:pt x="5696" y="13448"/>
                  </a:lnTo>
                  <a:lnTo>
                    <a:pt x="5531" y="13478"/>
                  </a:lnTo>
                  <a:lnTo>
                    <a:pt x="5350" y="13507"/>
                  </a:lnTo>
                  <a:lnTo>
                    <a:pt x="5155" y="13533"/>
                  </a:lnTo>
                  <a:lnTo>
                    <a:pt x="4948" y="13558"/>
                  </a:lnTo>
                  <a:lnTo>
                    <a:pt x="4729" y="13580"/>
                  </a:lnTo>
                  <a:lnTo>
                    <a:pt x="4501" y="13598"/>
                  </a:lnTo>
                  <a:lnTo>
                    <a:pt x="4265" y="13614"/>
                  </a:lnTo>
                  <a:lnTo>
                    <a:pt x="4022" y="13624"/>
                  </a:lnTo>
                  <a:lnTo>
                    <a:pt x="3773" y="13630"/>
                  </a:lnTo>
                  <a:lnTo>
                    <a:pt x="3521" y="13631"/>
                  </a:lnTo>
                  <a:lnTo>
                    <a:pt x="3267" y="13627"/>
                  </a:lnTo>
                  <a:lnTo>
                    <a:pt x="3013" y="13617"/>
                  </a:lnTo>
                  <a:lnTo>
                    <a:pt x="2759" y="13599"/>
                  </a:lnTo>
                  <a:lnTo>
                    <a:pt x="2507" y="13576"/>
                  </a:lnTo>
                  <a:lnTo>
                    <a:pt x="2259" y="13544"/>
                  </a:lnTo>
                  <a:lnTo>
                    <a:pt x="2016" y="13504"/>
                  </a:lnTo>
                  <a:lnTo>
                    <a:pt x="1780" y="13457"/>
                  </a:lnTo>
                  <a:lnTo>
                    <a:pt x="1553" y="13400"/>
                  </a:lnTo>
                  <a:lnTo>
                    <a:pt x="1335" y="13334"/>
                  </a:lnTo>
                  <a:lnTo>
                    <a:pt x="1128" y="13258"/>
                  </a:lnTo>
                  <a:lnTo>
                    <a:pt x="934" y="13171"/>
                  </a:lnTo>
                  <a:lnTo>
                    <a:pt x="754" y="13074"/>
                  </a:lnTo>
                  <a:lnTo>
                    <a:pt x="589" y="12965"/>
                  </a:lnTo>
                  <a:lnTo>
                    <a:pt x="442" y="12844"/>
                  </a:lnTo>
                  <a:lnTo>
                    <a:pt x="313" y="12712"/>
                  </a:lnTo>
                  <a:lnTo>
                    <a:pt x="204" y="12566"/>
                  </a:lnTo>
                  <a:lnTo>
                    <a:pt x="117" y="12408"/>
                  </a:lnTo>
                  <a:lnTo>
                    <a:pt x="53" y="12235"/>
                  </a:lnTo>
                  <a:lnTo>
                    <a:pt x="13" y="12049"/>
                  </a:lnTo>
                  <a:lnTo>
                    <a:pt x="0" y="11847"/>
                  </a:lnTo>
                  <a:lnTo>
                    <a:pt x="5" y="11755"/>
                  </a:lnTo>
                  <a:lnTo>
                    <a:pt x="18" y="11664"/>
                  </a:lnTo>
                  <a:lnTo>
                    <a:pt x="41" y="11573"/>
                  </a:lnTo>
                  <a:lnTo>
                    <a:pt x="71" y="11484"/>
                  </a:lnTo>
                  <a:lnTo>
                    <a:pt x="108" y="11396"/>
                  </a:lnTo>
                  <a:lnTo>
                    <a:pt x="152" y="11308"/>
                  </a:lnTo>
                  <a:lnTo>
                    <a:pt x="202" y="11222"/>
                  </a:lnTo>
                  <a:lnTo>
                    <a:pt x="257" y="11137"/>
                  </a:lnTo>
                  <a:lnTo>
                    <a:pt x="318" y="11055"/>
                  </a:lnTo>
                  <a:lnTo>
                    <a:pt x="382" y="10973"/>
                  </a:lnTo>
                  <a:lnTo>
                    <a:pt x="450" y="10895"/>
                  </a:lnTo>
                  <a:lnTo>
                    <a:pt x="521" y="10817"/>
                  </a:lnTo>
                  <a:lnTo>
                    <a:pt x="595" y="10743"/>
                  </a:lnTo>
                  <a:lnTo>
                    <a:pt x="670" y="10670"/>
                  </a:lnTo>
                  <a:lnTo>
                    <a:pt x="747" y="10601"/>
                  </a:lnTo>
                  <a:lnTo>
                    <a:pt x="824" y="10533"/>
                  </a:lnTo>
                  <a:lnTo>
                    <a:pt x="901" y="10469"/>
                  </a:lnTo>
                  <a:lnTo>
                    <a:pt x="977" y="10408"/>
                  </a:lnTo>
                  <a:lnTo>
                    <a:pt x="1053" y="10351"/>
                  </a:lnTo>
                  <a:lnTo>
                    <a:pt x="1126" y="10296"/>
                  </a:lnTo>
                  <a:lnTo>
                    <a:pt x="1197" y="10245"/>
                  </a:lnTo>
                  <a:lnTo>
                    <a:pt x="1265" y="10197"/>
                  </a:lnTo>
                  <a:lnTo>
                    <a:pt x="1330" y="10153"/>
                  </a:lnTo>
                  <a:lnTo>
                    <a:pt x="1390" y="10113"/>
                  </a:lnTo>
                  <a:lnTo>
                    <a:pt x="1446" y="10078"/>
                  </a:lnTo>
                  <a:lnTo>
                    <a:pt x="1496" y="10047"/>
                  </a:lnTo>
                  <a:lnTo>
                    <a:pt x="1539" y="10019"/>
                  </a:lnTo>
                  <a:lnTo>
                    <a:pt x="1577" y="9997"/>
                  </a:lnTo>
                  <a:lnTo>
                    <a:pt x="1629" y="9966"/>
                  </a:lnTo>
                  <a:lnTo>
                    <a:pt x="1648" y="9956"/>
                  </a:lnTo>
                  <a:lnTo>
                    <a:pt x="1651" y="9936"/>
                  </a:lnTo>
                  <a:lnTo>
                    <a:pt x="1661" y="9877"/>
                  </a:lnTo>
                  <a:lnTo>
                    <a:pt x="1669" y="9836"/>
                  </a:lnTo>
                  <a:lnTo>
                    <a:pt x="1678" y="9787"/>
                  </a:lnTo>
                  <a:lnTo>
                    <a:pt x="1690" y="9731"/>
                  </a:lnTo>
                  <a:lnTo>
                    <a:pt x="1703" y="9669"/>
                  </a:lnTo>
                  <a:lnTo>
                    <a:pt x="1719" y="9602"/>
                  </a:lnTo>
                  <a:lnTo>
                    <a:pt x="1736" y="9529"/>
                  </a:lnTo>
                  <a:lnTo>
                    <a:pt x="1756" y="9453"/>
                  </a:lnTo>
                  <a:lnTo>
                    <a:pt x="1778" y="9372"/>
                  </a:lnTo>
                  <a:lnTo>
                    <a:pt x="1802" y="9289"/>
                  </a:lnTo>
                  <a:lnTo>
                    <a:pt x="1828" y="9203"/>
                  </a:lnTo>
                  <a:lnTo>
                    <a:pt x="1857" y="9116"/>
                  </a:lnTo>
                  <a:lnTo>
                    <a:pt x="1888" y="9027"/>
                  </a:lnTo>
                  <a:lnTo>
                    <a:pt x="1921" y="8939"/>
                  </a:lnTo>
                  <a:lnTo>
                    <a:pt x="1957" y="8850"/>
                  </a:lnTo>
                  <a:lnTo>
                    <a:pt x="1995" y="8762"/>
                  </a:lnTo>
                  <a:lnTo>
                    <a:pt x="2036" y="8676"/>
                  </a:lnTo>
                  <a:lnTo>
                    <a:pt x="2080" y="8592"/>
                  </a:lnTo>
                  <a:lnTo>
                    <a:pt x="2126" y="8511"/>
                  </a:lnTo>
                  <a:lnTo>
                    <a:pt x="2175" y="8434"/>
                  </a:lnTo>
                  <a:lnTo>
                    <a:pt x="2227" y="8359"/>
                  </a:lnTo>
                  <a:lnTo>
                    <a:pt x="2281" y="8291"/>
                  </a:lnTo>
                  <a:lnTo>
                    <a:pt x="2339" y="8227"/>
                  </a:lnTo>
                  <a:lnTo>
                    <a:pt x="2399" y="8169"/>
                  </a:lnTo>
                  <a:lnTo>
                    <a:pt x="2462" y="8118"/>
                  </a:lnTo>
                  <a:lnTo>
                    <a:pt x="2529" y="8075"/>
                  </a:lnTo>
                  <a:lnTo>
                    <a:pt x="2598" y="8039"/>
                  </a:lnTo>
                  <a:lnTo>
                    <a:pt x="2671" y="8011"/>
                  </a:lnTo>
                  <a:lnTo>
                    <a:pt x="2746" y="7994"/>
                  </a:lnTo>
                  <a:lnTo>
                    <a:pt x="2820" y="7983"/>
                  </a:lnTo>
                  <a:lnTo>
                    <a:pt x="2887" y="7974"/>
                  </a:lnTo>
                  <a:lnTo>
                    <a:pt x="2947" y="7968"/>
                  </a:lnTo>
                  <a:lnTo>
                    <a:pt x="3002" y="7964"/>
                  </a:lnTo>
                  <a:lnTo>
                    <a:pt x="3051" y="7964"/>
                  </a:lnTo>
                  <a:lnTo>
                    <a:pt x="3095" y="7965"/>
                  </a:lnTo>
                  <a:lnTo>
                    <a:pt x="3135" y="7967"/>
                  </a:lnTo>
                  <a:lnTo>
                    <a:pt x="3171" y="7971"/>
                  </a:lnTo>
                  <a:lnTo>
                    <a:pt x="3203" y="7978"/>
                  </a:lnTo>
                  <a:lnTo>
                    <a:pt x="3232" y="7984"/>
                  </a:lnTo>
                  <a:lnTo>
                    <a:pt x="3258" y="7991"/>
                  </a:lnTo>
                  <a:lnTo>
                    <a:pt x="3282" y="7999"/>
                  </a:lnTo>
                  <a:lnTo>
                    <a:pt x="3325" y="8014"/>
                  </a:lnTo>
                  <a:lnTo>
                    <a:pt x="3364" y="8029"/>
                  </a:lnTo>
                  <a:lnTo>
                    <a:pt x="3383" y="8035"/>
                  </a:lnTo>
                  <a:lnTo>
                    <a:pt x="3403" y="8040"/>
                  </a:lnTo>
                  <a:lnTo>
                    <a:pt x="3424" y="8044"/>
                  </a:lnTo>
                  <a:lnTo>
                    <a:pt x="3446" y="8046"/>
                  </a:lnTo>
                  <a:lnTo>
                    <a:pt x="3470" y="8046"/>
                  </a:lnTo>
                  <a:lnTo>
                    <a:pt x="3496" y="8044"/>
                  </a:lnTo>
                  <a:lnTo>
                    <a:pt x="3525" y="8040"/>
                  </a:lnTo>
                  <a:lnTo>
                    <a:pt x="3557" y="8034"/>
                  </a:lnTo>
                  <a:lnTo>
                    <a:pt x="3593" y="8024"/>
                  </a:lnTo>
                  <a:lnTo>
                    <a:pt x="3632" y="8011"/>
                  </a:lnTo>
                  <a:lnTo>
                    <a:pt x="3677" y="7995"/>
                  </a:lnTo>
                  <a:lnTo>
                    <a:pt x="3726" y="7975"/>
                  </a:lnTo>
                  <a:lnTo>
                    <a:pt x="3781" y="7951"/>
                  </a:lnTo>
                  <a:lnTo>
                    <a:pt x="3841" y="7924"/>
                  </a:lnTo>
                  <a:lnTo>
                    <a:pt x="3908" y="7891"/>
                  </a:lnTo>
                  <a:lnTo>
                    <a:pt x="3982" y="7854"/>
                  </a:lnTo>
                  <a:lnTo>
                    <a:pt x="4059" y="7812"/>
                  </a:lnTo>
                  <a:lnTo>
                    <a:pt x="4134" y="7768"/>
                  </a:lnTo>
                  <a:lnTo>
                    <a:pt x="4207" y="7720"/>
                  </a:lnTo>
                  <a:lnTo>
                    <a:pt x="4278" y="7670"/>
                  </a:lnTo>
                  <a:lnTo>
                    <a:pt x="4348" y="7617"/>
                  </a:lnTo>
                  <a:lnTo>
                    <a:pt x="4415" y="7562"/>
                  </a:lnTo>
                  <a:lnTo>
                    <a:pt x="4481" y="7505"/>
                  </a:lnTo>
                  <a:lnTo>
                    <a:pt x="4545" y="7447"/>
                  </a:lnTo>
                  <a:lnTo>
                    <a:pt x="4607" y="7387"/>
                  </a:lnTo>
                  <a:lnTo>
                    <a:pt x="4666" y="7327"/>
                  </a:lnTo>
                  <a:lnTo>
                    <a:pt x="4724" y="7265"/>
                  </a:lnTo>
                  <a:lnTo>
                    <a:pt x="4779" y="7204"/>
                  </a:lnTo>
                  <a:lnTo>
                    <a:pt x="4832" y="7143"/>
                  </a:lnTo>
                  <a:lnTo>
                    <a:pt x="4883" y="7082"/>
                  </a:lnTo>
                  <a:lnTo>
                    <a:pt x="4932" y="7021"/>
                  </a:lnTo>
                  <a:lnTo>
                    <a:pt x="4978" y="6960"/>
                  </a:lnTo>
                  <a:lnTo>
                    <a:pt x="5022" y="6902"/>
                  </a:lnTo>
                  <a:lnTo>
                    <a:pt x="5063" y="6846"/>
                  </a:lnTo>
                  <a:lnTo>
                    <a:pt x="5102" y="6791"/>
                  </a:lnTo>
                  <a:lnTo>
                    <a:pt x="5139" y="6738"/>
                  </a:lnTo>
                  <a:lnTo>
                    <a:pt x="5172" y="6687"/>
                  </a:lnTo>
                  <a:lnTo>
                    <a:pt x="5203" y="6640"/>
                  </a:lnTo>
                  <a:lnTo>
                    <a:pt x="5231" y="6595"/>
                  </a:lnTo>
                  <a:lnTo>
                    <a:pt x="5257" y="6554"/>
                  </a:lnTo>
                  <a:lnTo>
                    <a:pt x="5300" y="6483"/>
                  </a:lnTo>
                  <a:lnTo>
                    <a:pt x="5331" y="6429"/>
                  </a:lnTo>
                  <a:lnTo>
                    <a:pt x="5349" y="6395"/>
                  </a:lnTo>
                  <a:lnTo>
                    <a:pt x="5356" y="6383"/>
                  </a:lnTo>
                  <a:close/>
                </a:path>
              </a:pathLst>
            </a:custGeom>
            <a:solidFill>
              <a:srgbClr val="C2C1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3" name="Freeform 200"/>
            <p:cNvSpPr>
              <a:spLocks noEditPoints="1"/>
            </p:cNvSpPr>
            <p:nvPr/>
          </p:nvSpPr>
          <p:spPr bwMode="auto">
            <a:xfrm>
              <a:off x="1585" y="1817"/>
              <a:ext cx="194" cy="209"/>
            </a:xfrm>
            <a:custGeom>
              <a:avLst/>
              <a:gdLst>
                <a:gd name="T0" fmla="*/ 0 w 8178"/>
                <a:gd name="T1" fmla="*/ 0 h 8976"/>
                <a:gd name="T2" fmla="*/ 0 w 8178"/>
                <a:gd name="T3" fmla="*/ 0 h 8976"/>
                <a:gd name="T4" fmla="*/ 0 w 8178"/>
                <a:gd name="T5" fmla="*/ 0 h 8976"/>
                <a:gd name="T6" fmla="*/ 0 w 8178"/>
                <a:gd name="T7" fmla="*/ 0 h 8976"/>
                <a:gd name="T8" fmla="*/ 0 w 8178"/>
                <a:gd name="T9" fmla="*/ 0 h 8976"/>
                <a:gd name="T10" fmla="*/ 0 w 8178"/>
                <a:gd name="T11" fmla="*/ 0 h 8976"/>
                <a:gd name="T12" fmla="*/ 0 w 8178"/>
                <a:gd name="T13" fmla="*/ 0 h 8976"/>
                <a:gd name="T14" fmla="*/ 0 w 8178"/>
                <a:gd name="T15" fmla="*/ 0 h 8976"/>
                <a:gd name="T16" fmla="*/ 0 w 8178"/>
                <a:gd name="T17" fmla="*/ 0 h 8976"/>
                <a:gd name="T18" fmla="*/ 0 w 8178"/>
                <a:gd name="T19" fmla="*/ 0 h 8976"/>
                <a:gd name="T20" fmla="*/ 0 w 8178"/>
                <a:gd name="T21" fmla="*/ 0 h 8976"/>
                <a:gd name="T22" fmla="*/ 0 w 8178"/>
                <a:gd name="T23" fmla="*/ 0 h 8976"/>
                <a:gd name="T24" fmla="*/ 0 w 8178"/>
                <a:gd name="T25" fmla="*/ 0 h 8976"/>
                <a:gd name="T26" fmla="*/ 0 w 8178"/>
                <a:gd name="T27" fmla="*/ 0 h 8976"/>
                <a:gd name="T28" fmla="*/ 0 w 8178"/>
                <a:gd name="T29" fmla="*/ 0 h 8976"/>
                <a:gd name="T30" fmla="*/ 0 w 8178"/>
                <a:gd name="T31" fmla="*/ 0 h 8976"/>
                <a:gd name="T32" fmla="*/ 0 w 8178"/>
                <a:gd name="T33" fmla="*/ 0 h 8976"/>
                <a:gd name="T34" fmla="*/ 0 w 8178"/>
                <a:gd name="T35" fmla="*/ 0 h 8976"/>
                <a:gd name="T36" fmla="*/ 0 w 8178"/>
                <a:gd name="T37" fmla="*/ 0 h 8976"/>
                <a:gd name="T38" fmla="*/ 0 w 8178"/>
                <a:gd name="T39" fmla="*/ 0 h 8976"/>
                <a:gd name="T40" fmla="*/ 0 w 8178"/>
                <a:gd name="T41" fmla="*/ 0 h 8976"/>
                <a:gd name="T42" fmla="*/ 0 w 8178"/>
                <a:gd name="T43" fmla="*/ 0 h 8976"/>
                <a:gd name="T44" fmla="*/ 0 w 8178"/>
                <a:gd name="T45" fmla="*/ 0 h 8976"/>
                <a:gd name="T46" fmla="*/ 0 w 8178"/>
                <a:gd name="T47" fmla="*/ 0 h 8976"/>
                <a:gd name="T48" fmla="*/ 0 w 8178"/>
                <a:gd name="T49" fmla="*/ 0 h 8976"/>
                <a:gd name="T50" fmla="*/ 0 w 8178"/>
                <a:gd name="T51" fmla="*/ 0 h 8976"/>
                <a:gd name="T52" fmla="*/ 0 w 8178"/>
                <a:gd name="T53" fmla="*/ 0 h 8976"/>
                <a:gd name="T54" fmla="*/ 0 w 8178"/>
                <a:gd name="T55" fmla="*/ 0 h 8976"/>
                <a:gd name="T56" fmla="*/ 0 w 8178"/>
                <a:gd name="T57" fmla="*/ 0 h 8976"/>
                <a:gd name="T58" fmla="*/ 0 w 8178"/>
                <a:gd name="T59" fmla="*/ 0 h 8976"/>
                <a:gd name="T60" fmla="*/ 0 w 8178"/>
                <a:gd name="T61" fmla="*/ 0 h 8976"/>
                <a:gd name="T62" fmla="*/ 0 w 8178"/>
                <a:gd name="T63" fmla="*/ 0 h 8976"/>
                <a:gd name="T64" fmla="*/ 0 w 8178"/>
                <a:gd name="T65" fmla="*/ 0 h 8976"/>
                <a:gd name="T66" fmla="*/ 0 w 8178"/>
                <a:gd name="T67" fmla="*/ 0 h 8976"/>
                <a:gd name="T68" fmla="*/ 0 w 8178"/>
                <a:gd name="T69" fmla="*/ 0 h 8976"/>
                <a:gd name="T70" fmla="*/ 0 w 8178"/>
                <a:gd name="T71" fmla="*/ 0 h 8976"/>
                <a:gd name="T72" fmla="*/ 0 w 8178"/>
                <a:gd name="T73" fmla="*/ 0 h 8976"/>
                <a:gd name="T74" fmla="*/ 0 w 8178"/>
                <a:gd name="T75" fmla="*/ 0 h 8976"/>
                <a:gd name="T76" fmla="*/ 0 w 8178"/>
                <a:gd name="T77" fmla="*/ 0 h 8976"/>
                <a:gd name="T78" fmla="*/ 0 w 8178"/>
                <a:gd name="T79" fmla="*/ 0 h 8976"/>
                <a:gd name="T80" fmla="*/ 0 w 8178"/>
                <a:gd name="T81" fmla="*/ 0 h 8976"/>
                <a:gd name="T82" fmla="*/ 0 w 8178"/>
                <a:gd name="T83" fmla="*/ 0 h 8976"/>
                <a:gd name="T84" fmla="*/ 0 w 8178"/>
                <a:gd name="T85" fmla="*/ 0 h 8976"/>
                <a:gd name="T86" fmla="*/ 0 w 8178"/>
                <a:gd name="T87" fmla="*/ 0 h 8976"/>
                <a:gd name="T88" fmla="*/ 0 w 8178"/>
                <a:gd name="T89" fmla="*/ 0 h 8976"/>
                <a:gd name="T90" fmla="*/ 0 w 8178"/>
                <a:gd name="T91" fmla="*/ 0 h 8976"/>
                <a:gd name="T92" fmla="*/ 0 w 8178"/>
                <a:gd name="T93" fmla="*/ 0 h 8976"/>
                <a:gd name="T94" fmla="*/ 0 w 8178"/>
                <a:gd name="T95" fmla="*/ 0 h 8976"/>
                <a:gd name="T96" fmla="*/ 0 w 8178"/>
                <a:gd name="T97" fmla="*/ 0 h 8976"/>
                <a:gd name="T98" fmla="*/ 0 w 8178"/>
                <a:gd name="T99" fmla="*/ 0 h 8976"/>
                <a:gd name="T100" fmla="*/ 0 w 8178"/>
                <a:gd name="T101" fmla="*/ 0 h 89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178"/>
                <a:gd name="T154" fmla="*/ 0 h 8976"/>
                <a:gd name="T155" fmla="*/ 8178 w 8178"/>
                <a:gd name="T156" fmla="*/ 8976 h 89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178" h="8976">
                  <a:moveTo>
                    <a:pt x="3448" y="3035"/>
                  </a:moveTo>
                  <a:lnTo>
                    <a:pt x="3531" y="3038"/>
                  </a:lnTo>
                  <a:lnTo>
                    <a:pt x="3615" y="3045"/>
                  </a:lnTo>
                  <a:lnTo>
                    <a:pt x="3696" y="3056"/>
                  </a:lnTo>
                  <a:lnTo>
                    <a:pt x="3776" y="3072"/>
                  </a:lnTo>
                  <a:lnTo>
                    <a:pt x="3856" y="3093"/>
                  </a:lnTo>
                  <a:lnTo>
                    <a:pt x="3932" y="3117"/>
                  </a:lnTo>
                  <a:lnTo>
                    <a:pt x="4008" y="3146"/>
                  </a:lnTo>
                  <a:lnTo>
                    <a:pt x="4083" y="3178"/>
                  </a:lnTo>
                  <a:lnTo>
                    <a:pt x="4155" y="3215"/>
                  </a:lnTo>
                  <a:lnTo>
                    <a:pt x="4225" y="3256"/>
                  </a:lnTo>
                  <a:lnTo>
                    <a:pt x="4293" y="3300"/>
                  </a:lnTo>
                  <a:lnTo>
                    <a:pt x="4359" y="3348"/>
                  </a:lnTo>
                  <a:lnTo>
                    <a:pt x="4424" y="3399"/>
                  </a:lnTo>
                  <a:lnTo>
                    <a:pt x="4485" y="3454"/>
                  </a:lnTo>
                  <a:lnTo>
                    <a:pt x="4545" y="3511"/>
                  </a:lnTo>
                  <a:lnTo>
                    <a:pt x="4601" y="3572"/>
                  </a:lnTo>
                  <a:lnTo>
                    <a:pt x="4655" y="3636"/>
                  </a:lnTo>
                  <a:lnTo>
                    <a:pt x="4707" y="3703"/>
                  </a:lnTo>
                  <a:lnTo>
                    <a:pt x="4755" y="3771"/>
                  </a:lnTo>
                  <a:lnTo>
                    <a:pt x="4801" y="3844"/>
                  </a:lnTo>
                  <a:lnTo>
                    <a:pt x="4843" y="3918"/>
                  </a:lnTo>
                  <a:lnTo>
                    <a:pt x="4882" y="3994"/>
                  </a:lnTo>
                  <a:lnTo>
                    <a:pt x="4919" y="4073"/>
                  </a:lnTo>
                  <a:lnTo>
                    <a:pt x="4951" y="4155"/>
                  </a:lnTo>
                  <a:lnTo>
                    <a:pt x="4980" y="4238"/>
                  </a:lnTo>
                  <a:lnTo>
                    <a:pt x="5006" y="4323"/>
                  </a:lnTo>
                  <a:lnTo>
                    <a:pt x="5028" y="4410"/>
                  </a:lnTo>
                  <a:lnTo>
                    <a:pt x="5046" y="4499"/>
                  </a:lnTo>
                  <a:lnTo>
                    <a:pt x="5061" y="4588"/>
                  </a:lnTo>
                  <a:lnTo>
                    <a:pt x="5071" y="4680"/>
                  </a:lnTo>
                  <a:lnTo>
                    <a:pt x="5077" y="4773"/>
                  </a:lnTo>
                  <a:lnTo>
                    <a:pt x="5079" y="4867"/>
                  </a:lnTo>
                  <a:lnTo>
                    <a:pt x="5077" y="4962"/>
                  </a:lnTo>
                  <a:lnTo>
                    <a:pt x="5071" y="5056"/>
                  </a:lnTo>
                  <a:lnTo>
                    <a:pt x="5061" y="5147"/>
                  </a:lnTo>
                  <a:lnTo>
                    <a:pt x="5046" y="5236"/>
                  </a:lnTo>
                  <a:lnTo>
                    <a:pt x="5028" y="5326"/>
                  </a:lnTo>
                  <a:lnTo>
                    <a:pt x="5006" y="5413"/>
                  </a:lnTo>
                  <a:lnTo>
                    <a:pt x="4980" y="5499"/>
                  </a:lnTo>
                  <a:lnTo>
                    <a:pt x="4951" y="5581"/>
                  </a:lnTo>
                  <a:lnTo>
                    <a:pt x="4919" y="5663"/>
                  </a:lnTo>
                  <a:lnTo>
                    <a:pt x="4882" y="5740"/>
                  </a:lnTo>
                  <a:lnTo>
                    <a:pt x="4843" y="5818"/>
                  </a:lnTo>
                  <a:lnTo>
                    <a:pt x="4801" y="5892"/>
                  </a:lnTo>
                  <a:lnTo>
                    <a:pt x="4755" y="5964"/>
                  </a:lnTo>
                  <a:lnTo>
                    <a:pt x="4707" y="6033"/>
                  </a:lnTo>
                  <a:lnTo>
                    <a:pt x="4655" y="6101"/>
                  </a:lnTo>
                  <a:lnTo>
                    <a:pt x="4601" y="6164"/>
                  </a:lnTo>
                  <a:lnTo>
                    <a:pt x="4545" y="6224"/>
                  </a:lnTo>
                  <a:lnTo>
                    <a:pt x="4485" y="6282"/>
                  </a:lnTo>
                  <a:lnTo>
                    <a:pt x="4424" y="6336"/>
                  </a:lnTo>
                  <a:lnTo>
                    <a:pt x="4359" y="6387"/>
                  </a:lnTo>
                  <a:lnTo>
                    <a:pt x="4293" y="6435"/>
                  </a:lnTo>
                  <a:lnTo>
                    <a:pt x="4225" y="6479"/>
                  </a:lnTo>
                  <a:lnTo>
                    <a:pt x="4155" y="6520"/>
                  </a:lnTo>
                  <a:lnTo>
                    <a:pt x="4083" y="6557"/>
                  </a:lnTo>
                  <a:lnTo>
                    <a:pt x="4008" y="6589"/>
                  </a:lnTo>
                  <a:lnTo>
                    <a:pt x="3932" y="6618"/>
                  </a:lnTo>
                  <a:lnTo>
                    <a:pt x="3856" y="6642"/>
                  </a:lnTo>
                  <a:lnTo>
                    <a:pt x="3776" y="6663"/>
                  </a:lnTo>
                  <a:lnTo>
                    <a:pt x="3696" y="6680"/>
                  </a:lnTo>
                  <a:lnTo>
                    <a:pt x="3615" y="6691"/>
                  </a:lnTo>
                  <a:lnTo>
                    <a:pt x="3531" y="6698"/>
                  </a:lnTo>
                  <a:lnTo>
                    <a:pt x="3448" y="6700"/>
                  </a:lnTo>
                  <a:lnTo>
                    <a:pt x="3363" y="6698"/>
                  </a:lnTo>
                  <a:lnTo>
                    <a:pt x="3281" y="6691"/>
                  </a:lnTo>
                  <a:lnTo>
                    <a:pt x="3199" y="6680"/>
                  </a:lnTo>
                  <a:lnTo>
                    <a:pt x="3119" y="6663"/>
                  </a:lnTo>
                  <a:lnTo>
                    <a:pt x="3040" y="6642"/>
                  </a:lnTo>
                  <a:lnTo>
                    <a:pt x="2962" y="6618"/>
                  </a:lnTo>
                  <a:lnTo>
                    <a:pt x="2886" y="6589"/>
                  </a:lnTo>
                  <a:lnTo>
                    <a:pt x="2812" y="6557"/>
                  </a:lnTo>
                  <a:lnTo>
                    <a:pt x="2739" y="6520"/>
                  </a:lnTo>
                  <a:lnTo>
                    <a:pt x="2669" y="6479"/>
                  </a:lnTo>
                  <a:lnTo>
                    <a:pt x="2601" y="6435"/>
                  </a:lnTo>
                  <a:lnTo>
                    <a:pt x="2535" y="6387"/>
                  </a:lnTo>
                  <a:lnTo>
                    <a:pt x="2471" y="6336"/>
                  </a:lnTo>
                  <a:lnTo>
                    <a:pt x="2409" y="6282"/>
                  </a:lnTo>
                  <a:lnTo>
                    <a:pt x="2350" y="6224"/>
                  </a:lnTo>
                  <a:lnTo>
                    <a:pt x="2293" y="6164"/>
                  </a:lnTo>
                  <a:lnTo>
                    <a:pt x="2240" y="6101"/>
                  </a:lnTo>
                  <a:lnTo>
                    <a:pt x="2188" y="6033"/>
                  </a:lnTo>
                  <a:lnTo>
                    <a:pt x="2140" y="5964"/>
                  </a:lnTo>
                  <a:lnTo>
                    <a:pt x="2094" y="5892"/>
                  </a:lnTo>
                  <a:lnTo>
                    <a:pt x="2051" y="5818"/>
                  </a:lnTo>
                  <a:lnTo>
                    <a:pt x="2012" y="5740"/>
                  </a:lnTo>
                  <a:lnTo>
                    <a:pt x="1977" y="5663"/>
                  </a:lnTo>
                  <a:lnTo>
                    <a:pt x="1944" y="5581"/>
                  </a:lnTo>
                  <a:lnTo>
                    <a:pt x="1914" y="5499"/>
                  </a:lnTo>
                  <a:lnTo>
                    <a:pt x="1888" y="5413"/>
                  </a:lnTo>
                  <a:lnTo>
                    <a:pt x="1866" y="5326"/>
                  </a:lnTo>
                  <a:lnTo>
                    <a:pt x="1849" y="5236"/>
                  </a:lnTo>
                  <a:lnTo>
                    <a:pt x="1834" y="5147"/>
                  </a:lnTo>
                  <a:lnTo>
                    <a:pt x="1824" y="5056"/>
                  </a:lnTo>
                  <a:lnTo>
                    <a:pt x="1817" y="4962"/>
                  </a:lnTo>
                  <a:lnTo>
                    <a:pt x="1815" y="4867"/>
                  </a:lnTo>
                  <a:lnTo>
                    <a:pt x="1817" y="4773"/>
                  </a:lnTo>
                  <a:lnTo>
                    <a:pt x="1824" y="4680"/>
                  </a:lnTo>
                  <a:lnTo>
                    <a:pt x="1834" y="4588"/>
                  </a:lnTo>
                  <a:lnTo>
                    <a:pt x="1849" y="4499"/>
                  </a:lnTo>
                  <a:lnTo>
                    <a:pt x="1866" y="4410"/>
                  </a:lnTo>
                  <a:lnTo>
                    <a:pt x="1888" y="4323"/>
                  </a:lnTo>
                  <a:lnTo>
                    <a:pt x="1914" y="4238"/>
                  </a:lnTo>
                  <a:lnTo>
                    <a:pt x="1944" y="4155"/>
                  </a:lnTo>
                  <a:lnTo>
                    <a:pt x="1977" y="4073"/>
                  </a:lnTo>
                  <a:lnTo>
                    <a:pt x="2012" y="3994"/>
                  </a:lnTo>
                  <a:lnTo>
                    <a:pt x="2051" y="3918"/>
                  </a:lnTo>
                  <a:lnTo>
                    <a:pt x="2094" y="3844"/>
                  </a:lnTo>
                  <a:lnTo>
                    <a:pt x="2140" y="3771"/>
                  </a:lnTo>
                  <a:lnTo>
                    <a:pt x="2188" y="3703"/>
                  </a:lnTo>
                  <a:lnTo>
                    <a:pt x="2240" y="3636"/>
                  </a:lnTo>
                  <a:lnTo>
                    <a:pt x="2293" y="3572"/>
                  </a:lnTo>
                  <a:lnTo>
                    <a:pt x="2350" y="3511"/>
                  </a:lnTo>
                  <a:lnTo>
                    <a:pt x="2409" y="3454"/>
                  </a:lnTo>
                  <a:lnTo>
                    <a:pt x="2471" y="3399"/>
                  </a:lnTo>
                  <a:lnTo>
                    <a:pt x="2535" y="3348"/>
                  </a:lnTo>
                  <a:lnTo>
                    <a:pt x="2601" y="3300"/>
                  </a:lnTo>
                  <a:lnTo>
                    <a:pt x="2669" y="3256"/>
                  </a:lnTo>
                  <a:lnTo>
                    <a:pt x="2739" y="3215"/>
                  </a:lnTo>
                  <a:lnTo>
                    <a:pt x="2812" y="3178"/>
                  </a:lnTo>
                  <a:lnTo>
                    <a:pt x="2886" y="3146"/>
                  </a:lnTo>
                  <a:lnTo>
                    <a:pt x="2962" y="3117"/>
                  </a:lnTo>
                  <a:lnTo>
                    <a:pt x="3040" y="3093"/>
                  </a:lnTo>
                  <a:lnTo>
                    <a:pt x="3119" y="3072"/>
                  </a:lnTo>
                  <a:lnTo>
                    <a:pt x="3199" y="3056"/>
                  </a:lnTo>
                  <a:lnTo>
                    <a:pt x="3281" y="3045"/>
                  </a:lnTo>
                  <a:lnTo>
                    <a:pt x="3363" y="3038"/>
                  </a:lnTo>
                  <a:lnTo>
                    <a:pt x="3448" y="3035"/>
                  </a:lnTo>
                  <a:close/>
                  <a:moveTo>
                    <a:pt x="4089" y="0"/>
                  </a:moveTo>
                  <a:lnTo>
                    <a:pt x="4299" y="7"/>
                  </a:lnTo>
                  <a:lnTo>
                    <a:pt x="4506" y="24"/>
                  </a:lnTo>
                  <a:lnTo>
                    <a:pt x="4711" y="52"/>
                  </a:lnTo>
                  <a:lnTo>
                    <a:pt x="4912" y="92"/>
                  </a:lnTo>
                  <a:lnTo>
                    <a:pt x="5110" y="142"/>
                  </a:lnTo>
                  <a:lnTo>
                    <a:pt x="5304" y="203"/>
                  </a:lnTo>
                  <a:lnTo>
                    <a:pt x="5494" y="274"/>
                  </a:lnTo>
                  <a:lnTo>
                    <a:pt x="5681" y="354"/>
                  </a:lnTo>
                  <a:lnTo>
                    <a:pt x="5861" y="444"/>
                  </a:lnTo>
                  <a:lnTo>
                    <a:pt x="6038" y="543"/>
                  </a:lnTo>
                  <a:lnTo>
                    <a:pt x="6209" y="650"/>
                  </a:lnTo>
                  <a:lnTo>
                    <a:pt x="6375" y="768"/>
                  </a:lnTo>
                  <a:lnTo>
                    <a:pt x="6535" y="892"/>
                  </a:lnTo>
                  <a:lnTo>
                    <a:pt x="6689" y="1026"/>
                  </a:lnTo>
                  <a:lnTo>
                    <a:pt x="6838" y="1167"/>
                  </a:lnTo>
                  <a:lnTo>
                    <a:pt x="6980" y="1315"/>
                  </a:lnTo>
                  <a:lnTo>
                    <a:pt x="7115" y="1471"/>
                  </a:lnTo>
                  <a:lnTo>
                    <a:pt x="7244" y="1635"/>
                  </a:lnTo>
                  <a:lnTo>
                    <a:pt x="7365" y="1804"/>
                  </a:lnTo>
                  <a:lnTo>
                    <a:pt x="7479" y="1980"/>
                  </a:lnTo>
                  <a:lnTo>
                    <a:pt x="7586" y="2162"/>
                  </a:lnTo>
                  <a:lnTo>
                    <a:pt x="7684" y="2350"/>
                  </a:lnTo>
                  <a:lnTo>
                    <a:pt x="7775" y="2543"/>
                  </a:lnTo>
                  <a:lnTo>
                    <a:pt x="7856" y="2742"/>
                  </a:lnTo>
                  <a:lnTo>
                    <a:pt x="7929" y="2946"/>
                  </a:lnTo>
                  <a:lnTo>
                    <a:pt x="7993" y="3154"/>
                  </a:lnTo>
                  <a:lnTo>
                    <a:pt x="8049" y="3367"/>
                  </a:lnTo>
                  <a:lnTo>
                    <a:pt x="8094" y="3584"/>
                  </a:lnTo>
                  <a:lnTo>
                    <a:pt x="8131" y="3805"/>
                  </a:lnTo>
                  <a:lnTo>
                    <a:pt x="8157" y="4029"/>
                  </a:lnTo>
                  <a:lnTo>
                    <a:pt x="8173" y="4258"/>
                  </a:lnTo>
                  <a:lnTo>
                    <a:pt x="8178" y="4489"/>
                  </a:lnTo>
                  <a:lnTo>
                    <a:pt x="8173" y="4720"/>
                  </a:lnTo>
                  <a:lnTo>
                    <a:pt x="8157" y="4947"/>
                  </a:lnTo>
                  <a:lnTo>
                    <a:pt x="8131" y="5172"/>
                  </a:lnTo>
                  <a:lnTo>
                    <a:pt x="8094" y="5392"/>
                  </a:lnTo>
                  <a:lnTo>
                    <a:pt x="8049" y="5610"/>
                  </a:lnTo>
                  <a:lnTo>
                    <a:pt x="7993" y="5823"/>
                  </a:lnTo>
                  <a:lnTo>
                    <a:pt x="7929" y="6032"/>
                  </a:lnTo>
                  <a:lnTo>
                    <a:pt x="7856" y="6235"/>
                  </a:lnTo>
                  <a:lnTo>
                    <a:pt x="7775" y="6434"/>
                  </a:lnTo>
                  <a:lnTo>
                    <a:pt x="7684" y="6627"/>
                  </a:lnTo>
                  <a:lnTo>
                    <a:pt x="7586" y="6815"/>
                  </a:lnTo>
                  <a:lnTo>
                    <a:pt x="7479" y="6997"/>
                  </a:lnTo>
                  <a:lnTo>
                    <a:pt x="7365" y="7173"/>
                  </a:lnTo>
                  <a:lnTo>
                    <a:pt x="7244" y="7342"/>
                  </a:lnTo>
                  <a:lnTo>
                    <a:pt x="7115" y="7505"/>
                  </a:lnTo>
                  <a:lnTo>
                    <a:pt x="6980" y="7661"/>
                  </a:lnTo>
                  <a:lnTo>
                    <a:pt x="6838" y="7810"/>
                  </a:lnTo>
                  <a:lnTo>
                    <a:pt x="6689" y="7950"/>
                  </a:lnTo>
                  <a:lnTo>
                    <a:pt x="6535" y="8085"/>
                  </a:lnTo>
                  <a:lnTo>
                    <a:pt x="6375" y="8209"/>
                  </a:lnTo>
                  <a:lnTo>
                    <a:pt x="6209" y="8327"/>
                  </a:lnTo>
                  <a:lnTo>
                    <a:pt x="6038" y="8434"/>
                  </a:lnTo>
                  <a:lnTo>
                    <a:pt x="5861" y="8533"/>
                  </a:lnTo>
                  <a:lnTo>
                    <a:pt x="5681" y="8624"/>
                  </a:lnTo>
                  <a:lnTo>
                    <a:pt x="5494" y="8703"/>
                  </a:lnTo>
                  <a:lnTo>
                    <a:pt x="5304" y="8774"/>
                  </a:lnTo>
                  <a:lnTo>
                    <a:pt x="5110" y="8835"/>
                  </a:lnTo>
                  <a:lnTo>
                    <a:pt x="4912" y="8885"/>
                  </a:lnTo>
                  <a:lnTo>
                    <a:pt x="4711" y="8924"/>
                  </a:lnTo>
                  <a:lnTo>
                    <a:pt x="4506" y="8952"/>
                  </a:lnTo>
                  <a:lnTo>
                    <a:pt x="4299" y="8970"/>
                  </a:lnTo>
                  <a:lnTo>
                    <a:pt x="4089" y="8976"/>
                  </a:lnTo>
                  <a:lnTo>
                    <a:pt x="3878" y="8970"/>
                  </a:lnTo>
                  <a:lnTo>
                    <a:pt x="3670" y="8952"/>
                  </a:lnTo>
                  <a:lnTo>
                    <a:pt x="3466" y="8924"/>
                  </a:lnTo>
                  <a:lnTo>
                    <a:pt x="3264" y="8885"/>
                  </a:lnTo>
                  <a:lnTo>
                    <a:pt x="3067" y="8835"/>
                  </a:lnTo>
                  <a:lnTo>
                    <a:pt x="2873" y="8774"/>
                  </a:lnTo>
                  <a:lnTo>
                    <a:pt x="2683" y="8703"/>
                  </a:lnTo>
                  <a:lnTo>
                    <a:pt x="2497" y="8624"/>
                  </a:lnTo>
                  <a:lnTo>
                    <a:pt x="2315" y="8533"/>
                  </a:lnTo>
                  <a:lnTo>
                    <a:pt x="2140" y="8434"/>
                  </a:lnTo>
                  <a:lnTo>
                    <a:pt x="1968" y="8327"/>
                  </a:lnTo>
                  <a:lnTo>
                    <a:pt x="1803" y="8209"/>
                  </a:lnTo>
                  <a:lnTo>
                    <a:pt x="1642" y="8085"/>
                  </a:lnTo>
                  <a:lnTo>
                    <a:pt x="1488" y="7950"/>
                  </a:lnTo>
                  <a:lnTo>
                    <a:pt x="1339" y="7810"/>
                  </a:lnTo>
                  <a:lnTo>
                    <a:pt x="1197" y="7661"/>
                  </a:lnTo>
                  <a:lnTo>
                    <a:pt x="1062" y="7505"/>
                  </a:lnTo>
                  <a:lnTo>
                    <a:pt x="933" y="7342"/>
                  </a:lnTo>
                  <a:lnTo>
                    <a:pt x="812" y="7173"/>
                  </a:lnTo>
                  <a:lnTo>
                    <a:pt x="698" y="6997"/>
                  </a:lnTo>
                  <a:lnTo>
                    <a:pt x="592" y="6815"/>
                  </a:lnTo>
                  <a:lnTo>
                    <a:pt x="493" y="6627"/>
                  </a:lnTo>
                  <a:lnTo>
                    <a:pt x="403" y="6434"/>
                  </a:lnTo>
                  <a:lnTo>
                    <a:pt x="321" y="6235"/>
                  </a:lnTo>
                  <a:lnTo>
                    <a:pt x="248" y="6032"/>
                  </a:lnTo>
                  <a:lnTo>
                    <a:pt x="184" y="5823"/>
                  </a:lnTo>
                  <a:lnTo>
                    <a:pt x="128" y="5610"/>
                  </a:lnTo>
                  <a:lnTo>
                    <a:pt x="83" y="5392"/>
                  </a:lnTo>
                  <a:lnTo>
                    <a:pt x="47" y="5172"/>
                  </a:lnTo>
                  <a:lnTo>
                    <a:pt x="21" y="4947"/>
                  </a:lnTo>
                  <a:lnTo>
                    <a:pt x="5" y="4720"/>
                  </a:lnTo>
                  <a:lnTo>
                    <a:pt x="0" y="4489"/>
                  </a:lnTo>
                  <a:lnTo>
                    <a:pt x="5" y="4258"/>
                  </a:lnTo>
                  <a:lnTo>
                    <a:pt x="21" y="4029"/>
                  </a:lnTo>
                  <a:lnTo>
                    <a:pt x="47" y="3805"/>
                  </a:lnTo>
                  <a:lnTo>
                    <a:pt x="83" y="3584"/>
                  </a:lnTo>
                  <a:lnTo>
                    <a:pt x="128" y="3367"/>
                  </a:lnTo>
                  <a:lnTo>
                    <a:pt x="184" y="3154"/>
                  </a:lnTo>
                  <a:lnTo>
                    <a:pt x="248" y="2946"/>
                  </a:lnTo>
                  <a:lnTo>
                    <a:pt x="321" y="2742"/>
                  </a:lnTo>
                  <a:lnTo>
                    <a:pt x="403" y="2543"/>
                  </a:lnTo>
                  <a:lnTo>
                    <a:pt x="493" y="2350"/>
                  </a:lnTo>
                  <a:lnTo>
                    <a:pt x="592" y="2162"/>
                  </a:lnTo>
                  <a:lnTo>
                    <a:pt x="698" y="1980"/>
                  </a:lnTo>
                  <a:lnTo>
                    <a:pt x="812" y="1804"/>
                  </a:lnTo>
                  <a:lnTo>
                    <a:pt x="933" y="1635"/>
                  </a:lnTo>
                  <a:lnTo>
                    <a:pt x="1062" y="1471"/>
                  </a:lnTo>
                  <a:lnTo>
                    <a:pt x="1197" y="1315"/>
                  </a:lnTo>
                  <a:lnTo>
                    <a:pt x="1339" y="1167"/>
                  </a:lnTo>
                  <a:lnTo>
                    <a:pt x="1488" y="1026"/>
                  </a:lnTo>
                  <a:lnTo>
                    <a:pt x="1642" y="892"/>
                  </a:lnTo>
                  <a:lnTo>
                    <a:pt x="1803" y="768"/>
                  </a:lnTo>
                  <a:lnTo>
                    <a:pt x="1968" y="650"/>
                  </a:lnTo>
                  <a:lnTo>
                    <a:pt x="2140" y="543"/>
                  </a:lnTo>
                  <a:lnTo>
                    <a:pt x="2315" y="444"/>
                  </a:lnTo>
                  <a:lnTo>
                    <a:pt x="2497" y="354"/>
                  </a:lnTo>
                  <a:lnTo>
                    <a:pt x="2683" y="274"/>
                  </a:lnTo>
                  <a:lnTo>
                    <a:pt x="2873" y="203"/>
                  </a:lnTo>
                  <a:lnTo>
                    <a:pt x="3067" y="142"/>
                  </a:lnTo>
                  <a:lnTo>
                    <a:pt x="3264" y="92"/>
                  </a:lnTo>
                  <a:lnTo>
                    <a:pt x="3466" y="52"/>
                  </a:lnTo>
                  <a:lnTo>
                    <a:pt x="3670" y="24"/>
                  </a:lnTo>
                  <a:lnTo>
                    <a:pt x="3878" y="7"/>
                  </a:lnTo>
                  <a:lnTo>
                    <a:pt x="40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4" name="Freeform 201"/>
            <p:cNvSpPr>
              <a:spLocks noEditPoints="1"/>
            </p:cNvSpPr>
            <p:nvPr/>
          </p:nvSpPr>
          <p:spPr bwMode="auto">
            <a:xfrm>
              <a:off x="1568" y="1801"/>
              <a:ext cx="228" cy="241"/>
            </a:xfrm>
            <a:custGeom>
              <a:avLst/>
              <a:gdLst>
                <a:gd name="T0" fmla="*/ 0 w 9573"/>
                <a:gd name="T1" fmla="*/ 0 h 10398"/>
                <a:gd name="T2" fmla="*/ 0 w 9573"/>
                <a:gd name="T3" fmla="*/ 0 h 10398"/>
                <a:gd name="T4" fmla="*/ 0 w 9573"/>
                <a:gd name="T5" fmla="*/ 0 h 10398"/>
                <a:gd name="T6" fmla="*/ 0 w 9573"/>
                <a:gd name="T7" fmla="*/ 0 h 10398"/>
                <a:gd name="T8" fmla="*/ 0 w 9573"/>
                <a:gd name="T9" fmla="*/ 0 h 10398"/>
                <a:gd name="T10" fmla="*/ 0 w 9573"/>
                <a:gd name="T11" fmla="*/ 0 h 10398"/>
                <a:gd name="T12" fmla="*/ 0 w 9573"/>
                <a:gd name="T13" fmla="*/ 0 h 10398"/>
                <a:gd name="T14" fmla="*/ 0 w 9573"/>
                <a:gd name="T15" fmla="*/ 0 h 10398"/>
                <a:gd name="T16" fmla="*/ 0 w 9573"/>
                <a:gd name="T17" fmla="*/ 0 h 10398"/>
                <a:gd name="T18" fmla="*/ 0 w 9573"/>
                <a:gd name="T19" fmla="*/ 0 h 10398"/>
                <a:gd name="T20" fmla="*/ 0 w 9573"/>
                <a:gd name="T21" fmla="*/ 0 h 10398"/>
                <a:gd name="T22" fmla="*/ 0 w 9573"/>
                <a:gd name="T23" fmla="*/ 0 h 10398"/>
                <a:gd name="T24" fmla="*/ 0 w 9573"/>
                <a:gd name="T25" fmla="*/ 0 h 10398"/>
                <a:gd name="T26" fmla="*/ 0 w 9573"/>
                <a:gd name="T27" fmla="*/ 0 h 10398"/>
                <a:gd name="T28" fmla="*/ 0 w 9573"/>
                <a:gd name="T29" fmla="*/ 0 h 10398"/>
                <a:gd name="T30" fmla="*/ 0 w 9573"/>
                <a:gd name="T31" fmla="*/ 0 h 10398"/>
                <a:gd name="T32" fmla="*/ 0 w 9573"/>
                <a:gd name="T33" fmla="*/ 0 h 10398"/>
                <a:gd name="T34" fmla="*/ 0 w 9573"/>
                <a:gd name="T35" fmla="*/ 0 h 10398"/>
                <a:gd name="T36" fmla="*/ 0 w 9573"/>
                <a:gd name="T37" fmla="*/ 0 h 10398"/>
                <a:gd name="T38" fmla="*/ 0 w 9573"/>
                <a:gd name="T39" fmla="*/ 0 h 10398"/>
                <a:gd name="T40" fmla="*/ 0 w 9573"/>
                <a:gd name="T41" fmla="*/ 0 h 10398"/>
                <a:gd name="T42" fmla="*/ 0 w 9573"/>
                <a:gd name="T43" fmla="*/ 0 h 10398"/>
                <a:gd name="T44" fmla="*/ 0 w 9573"/>
                <a:gd name="T45" fmla="*/ 0 h 10398"/>
                <a:gd name="T46" fmla="*/ 0 w 9573"/>
                <a:gd name="T47" fmla="*/ 0 h 10398"/>
                <a:gd name="T48" fmla="*/ 0 w 9573"/>
                <a:gd name="T49" fmla="*/ 0 h 10398"/>
                <a:gd name="T50" fmla="*/ 0 w 9573"/>
                <a:gd name="T51" fmla="*/ 0 h 10398"/>
                <a:gd name="T52" fmla="*/ 0 w 9573"/>
                <a:gd name="T53" fmla="*/ 0 h 10398"/>
                <a:gd name="T54" fmla="*/ 0 w 9573"/>
                <a:gd name="T55" fmla="*/ 0 h 10398"/>
                <a:gd name="T56" fmla="*/ 0 w 9573"/>
                <a:gd name="T57" fmla="*/ 0 h 10398"/>
                <a:gd name="T58" fmla="*/ 0 w 9573"/>
                <a:gd name="T59" fmla="*/ 0 h 10398"/>
                <a:gd name="T60" fmla="*/ 0 w 9573"/>
                <a:gd name="T61" fmla="*/ 0 h 10398"/>
                <a:gd name="T62" fmla="*/ 0 w 9573"/>
                <a:gd name="T63" fmla="*/ 0 h 10398"/>
                <a:gd name="T64" fmla="*/ 0 w 9573"/>
                <a:gd name="T65" fmla="*/ 0 h 10398"/>
                <a:gd name="T66" fmla="*/ 0 w 9573"/>
                <a:gd name="T67" fmla="*/ 0 h 10398"/>
                <a:gd name="T68" fmla="*/ 0 w 9573"/>
                <a:gd name="T69" fmla="*/ 0 h 10398"/>
                <a:gd name="T70" fmla="*/ 0 w 9573"/>
                <a:gd name="T71" fmla="*/ 0 h 10398"/>
                <a:gd name="T72" fmla="*/ 0 w 9573"/>
                <a:gd name="T73" fmla="*/ 0 h 10398"/>
                <a:gd name="T74" fmla="*/ 0 w 9573"/>
                <a:gd name="T75" fmla="*/ 0 h 10398"/>
                <a:gd name="T76" fmla="*/ 0 w 9573"/>
                <a:gd name="T77" fmla="*/ 0 h 10398"/>
                <a:gd name="T78" fmla="*/ 0 w 9573"/>
                <a:gd name="T79" fmla="*/ 0 h 10398"/>
                <a:gd name="T80" fmla="*/ 0 w 9573"/>
                <a:gd name="T81" fmla="*/ 0 h 10398"/>
                <a:gd name="T82" fmla="*/ 0 w 9573"/>
                <a:gd name="T83" fmla="*/ 0 h 10398"/>
                <a:gd name="T84" fmla="*/ 0 w 9573"/>
                <a:gd name="T85" fmla="*/ 0 h 10398"/>
                <a:gd name="T86" fmla="*/ 0 w 9573"/>
                <a:gd name="T87" fmla="*/ 0 h 10398"/>
                <a:gd name="T88" fmla="*/ 0 w 9573"/>
                <a:gd name="T89" fmla="*/ 0 h 10398"/>
                <a:gd name="T90" fmla="*/ 0 w 9573"/>
                <a:gd name="T91" fmla="*/ 0 h 10398"/>
                <a:gd name="T92" fmla="*/ 0 w 9573"/>
                <a:gd name="T93" fmla="*/ 0 h 10398"/>
                <a:gd name="T94" fmla="*/ 0 w 9573"/>
                <a:gd name="T95" fmla="*/ 0 h 10398"/>
                <a:gd name="T96" fmla="*/ 0 w 9573"/>
                <a:gd name="T97" fmla="*/ 0 h 10398"/>
                <a:gd name="T98" fmla="*/ 0 w 9573"/>
                <a:gd name="T99" fmla="*/ 0 h 10398"/>
                <a:gd name="T100" fmla="*/ 0 w 9573"/>
                <a:gd name="T101" fmla="*/ 0 h 10398"/>
                <a:gd name="T102" fmla="*/ 0 w 9573"/>
                <a:gd name="T103" fmla="*/ 0 h 10398"/>
                <a:gd name="T104" fmla="*/ 0 w 9573"/>
                <a:gd name="T105" fmla="*/ 0 h 10398"/>
                <a:gd name="T106" fmla="*/ 0 w 9573"/>
                <a:gd name="T107" fmla="*/ 0 h 10398"/>
                <a:gd name="T108" fmla="*/ 0 w 9573"/>
                <a:gd name="T109" fmla="*/ 0 h 10398"/>
                <a:gd name="T110" fmla="*/ 0 w 9573"/>
                <a:gd name="T111" fmla="*/ 0 h 10398"/>
                <a:gd name="T112" fmla="*/ 0 w 9573"/>
                <a:gd name="T113" fmla="*/ 0 h 10398"/>
                <a:gd name="T114" fmla="*/ 0 w 9573"/>
                <a:gd name="T115" fmla="*/ 0 h 10398"/>
                <a:gd name="T116" fmla="*/ 0 w 9573"/>
                <a:gd name="T117" fmla="*/ 0 h 10398"/>
                <a:gd name="T118" fmla="*/ 0 w 9573"/>
                <a:gd name="T119" fmla="*/ 0 h 10398"/>
                <a:gd name="T120" fmla="*/ 0 w 9573"/>
                <a:gd name="T121" fmla="*/ 0 h 10398"/>
                <a:gd name="T122" fmla="*/ 0 w 9573"/>
                <a:gd name="T123" fmla="*/ 0 h 10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573"/>
                <a:gd name="T187" fmla="*/ 0 h 10398"/>
                <a:gd name="T188" fmla="*/ 9573 w 9573"/>
                <a:gd name="T189" fmla="*/ 10398 h 10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573" h="10398">
                  <a:moveTo>
                    <a:pt x="4168" y="3034"/>
                  </a:moveTo>
                  <a:lnTo>
                    <a:pt x="4251" y="3038"/>
                  </a:lnTo>
                  <a:lnTo>
                    <a:pt x="4207" y="4460"/>
                  </a:lnTo>
                  <a:lnTo>
                    <a:pt x="4124" y="4457"/>
                  </a:lnTo>
                  <a:lnTo>
                    <a:pt x="4168" y="3034"/>
                  </a:lnTo>
                  <a:close/>
                  <a:moveTo>
                    <a:pt x="4251" y="3038"/>
                  </a:moveTo>
                  <a:lnTo>
                    <a:pt x="4284" y="3038"/>
                  </a:lnTo>
                  <a:lnTo>
                    <a:pt x="4229" y="3749"/>
                  </a:lnTo>
                  <a:lnTo>
                    <a:pt x="4251" y="3038"/>
                  </a:lnTo>
                  <a:close/>
                  <a:moveTo>
                    <a:pt x="4284" y="3038"/>
                  </a:moveTo>
                  <a:lnTo>
                    <a:pt x="4367" y="3044"/>
                  </a:lnTo>
                  <a:lnTo>
                    <a:pt x="4258" y="4467"/>
                  </a:lnTo>
                  <a:lnTo>
                    <a:pt x="4174" y="4460"/>
                  </a:lnTo>
                  <a:lnTo>
                    <a:pt x="4284" y="3038"/>
                  </a:lnTo>
                  <a:close/>
                  <a:moveTo>
                    <a:pt x="4367" y="3044"/>
                  </a:moveTo>
                  <a:lnTo>
                    <a:pt x="4408" y="3050"/>
                  </a:lnTo>
                  <a:lnTo>
                    <a:pt x="4313" y="3756"/>
                  </a:lnTo>
                  <a:lnTo>
                    <a:pt x="4367" y="3044"/>
                  </a:lnTo>
                  <a:close/>
                  <a:moveTo>
                    <a:pt x="4408" y="3050"/>
                  </a:moveTo>
                  <a:lnTo>
                    <a:pt x="4490" y="3061"/>
                  </a:lnTo>
                  <a:lnTo>
                    <a:pt x="4299" y="4473"/>
                  </a:lnTo>
                  <a:lnTo>
                    <a:pt x="4217" y="4461"/>
                  </a:lnTo>
                  <a:lnTo>
                    <a:pt x="4408" y="3050"/>
                  </a:lnTo>
                  <a:close/>
                  <a:moveTo>
                    <a:pt x="4490" y="3061"/>
                  </a:moveTo>
                  <a:lnTo>
                    <a:pt x="4526" y="3067"/>
                  </a:lnTo>
                  <a:lnTo>
                    <a:pt x="4394" y="3767"/>
                  </a:lnTo>
                  <a:lnTo>
                    <a:pt x="4490" y="3061"/>
                  </a:lnTo>
                  <a:close/>
                  <a:moveTo>
                    <a:pt x="4526" y="3067"/>
                  </a:moveTo>
                  <a:lnTo>
                    <a:pt x="4605" y="3082"/>
                  </a:lnTo>
                  <a:lnTo>
                    <a:pt x="4343" y="4483"/>
                  </a:lnTo>
                  <a:lnTo>
                    <a:pt x="4263" y="4467"/>
                  </a:lnTo>
                  <a:lnTo>
                    <a:pt x="4526" y="3067"/>
                  </a:lnTo>
                  <a:close/>
                  <a:moveTo>
                    <a:pt x="4605" y="3082"/>
                  </a:moveTo>
                  <a:lnTo>
                    <a:pt x="4644" y="3091"/>
                  </a:lnTo>
                  <a:lnTo>
                    <a:pt x="4474" y="3783"/>
                  </a:lnTo>
                  <a:lnTo>
                    <a:pt x="4605" y="3082"/>
                  </a:lnTo>
                  <a:close/>
                  <a:moveTo>
                    <a:pt x="4644" y="3091"/>
                  </a:moveTo>
                  <a:lnTo>
                    <a:pt x="4723" y="3112"/>
                  </a:lnTo>
                  <a:lnTo>
                    <a:pt x="4384" y="4496"/>
                  </a:lnTo>
                  <a:lnTo>
                    <a:pt x="4305" y="4475"/>
                  </a:lnTo>
                  <a:lnTo>
                    <a:pt x="4644" y="3091"/>
                  </a:lnTo>
                  <a:close/>
                  <a:moveTo>
                    <a:pt x="4723" y="3112"/>
                  </a:moveTo>
                  <a:lnTo>
                    <a:pt x="4761" y="3122"/>
                  </a:lnTo>
                  <a:lnTo>
                    <a:pt x="4554" y="3804"/>
                  </a:lnTo>
                  <a:lnTo>
                    <a:pt x="4723" y="3112"/>
                  </a:lnTo>
                  <a:close/>
                  <a:moveTo>
                    <a:pt x="4761" y="3122"/>
                  </a:moveTo>
                  <a:lnTo>
                    <a:pt x="4838" y="3147"/>
                  </a:lnTo>
                  <a:lnTo>
                    <a:pt x="4422" y="4509"/>
                  </a:lnTo>
                  <a:lnTo>
                    <a:pt x="4346" y="4484"/>
                  </a:lnTo>
                  <a:lnTo>
                    <a:pt x="4761" y="3122"/>
                  </a:lnTo>
                  <a:close/>
                  <a:moveTo>
                    <a:pt x="4838" y="3147"/>
                  </a:moveTo>
                  <a:lnTo>
                    <a:pt x="4879" y="3161"/>
                  </a:lnTo>
                  <a:lnTo>
                    <a:pt x="4630" y="3828"/>
                  </a:lnTo>
                  <a:lnTo>
                    <a:pt x="4838" y="3147"/>
                  </a:lnTo>
                  <a:close/>
                  <a:moveTo>
                    <a:pt x="4879" y="3161"/>
                  </a:moveTo>
                  <a:lnTo>
                    <a:pt x="4955" y="3191"/>
                  </a:lnTo>
                  <a:lnTo>
                    <a:pt x="4457" y="4524"/>
                  </a:lnTo>
                  <a:lnTo>
                    <a:pt x="4381" y="4494"/>
                  </a:lnTo>
                  <a:lnTo>
                    <a:pt x="4879" y="3161"/>
                  </a:lnTo>
                  <a:close/>
                  <a:moveTo>
                    <a:pt x="4955" y="3191"/>
                  </a:moveTo>
                  <a:lnTo>
                    <a:pt x="4977" y="3202"/>
                  </a:lnTo>
                  <a:lnTo>
                    <a:pt x="4706" y="3857"/>
                  </a:lnTo>
                  <a:lnTo>
                    <a:pt x="4955" y="3191"/>
                  </a:lnTo>
                  <a:close/>
                  <a:moveTo>
                    <a:pt x="4977" y="3202"/>
                  </a:moveTo>
                  <a:lnTo>
                    <a:pt x="5052" y="3234"/>
                  </a:lnTo>
                  <a:lnTo>
                    <a:pt x="4510" y="4546"/>
                  </a:lnTo>
                  <a:lnTo>
                    <a:pt x="4435" y="4513"/>
                  </a:lnTo>
                  <a:lnTo>
                    <a:pt x="4977" y="3202"/>
                  </a:lnTo>
                  <a:close/>
                  <a:moveTo>
                    <a:pt x="5052" y="3234"/>
                  </a:moveTo>
                  <a:lnTo>
                    <a:pt x="5095" y="3254"/>
                  </a:lnTo>
                  <a:lnTo>
                    <a:pt x="4781" y="3889"/>
                  </a:lnTo>
                  <a:lnTo>
                    <a:pt x="5052" y="3234"/>
                  </a:lnTo>
                  <a:close/>
                  <a:moveTo>
                    <a:pt x="5095" y="3254"/>
                  </a:moveTo>
                  <a:lnTo>
                    <a:pt x="5167" y="3291"/>
                  </a:lnTo>
                  <a:lnTo>
                    <a:pt x="4538" y="4563"/>
                  </a:lnTo>
                  <a:lnTo>
                    <a:pt x="4466" y="4526"/>
                  </a:lnTo>
                  <a:lnTo>
                    <a:pt x="5095" y="3254"/>
                  </a:lnTo>
                  <a:close/>
                  <a:moveTo>
                    <a:pt x="5167" y="3291"/>
                  </a:moveTo>
                  <a:lnTo>
                    <a:pt x="5195" y="3305"/>
                  </a:lnTo>
                  <a:lnTo>
                    <a:pt x="4853" y="3926"/>
                  </a:lnTo>
                  <a:lnTo>
                    <a:pt x="5167" y="3291"/>
                  </a:lnTo>
                  <a:close/>
                  <a:moveTo>
                    <a:pt x="5195" y="3305"/>
                  </a:moveTo>
                  <a:lnTo>
                    <a:pt x="5265" y="3345"/>
                  </a:lnTo>
                  <a:lnTo>
                    <a:pt x="4581" y="4589"/>
                  </a:lnTo>
                  <a:lnTo>
                    <a:pt x="4511" y="4549"/>
                  </a:lnTo>
                  <a:lnTo>
                    <a:pt x="5195" y="3305"/>
                  </a:lnTo>
                  <a:close/>
                  <a:moveTo>
                    <a:pt x="5265" y="3345"/>
                  </a:moveTo>
                  <a:lnTo>
                    <a:pt x="5298" y="3364"/>
                  </a:lnTo>
                  <a:lnTo>
                    <a:pt x="4923" y="3967"/>
                  </a:lnTo>
                  <a:lnTo>
                    <a:pt x="5265" y="3345"/>
                  </a:lnTo>
                  <a:close/>
                  <a:moveTo>
                    <a:pt x="5298" y="3364"/>
                  </a:moveTo>
                  <a:lnTo>
                    <a:pt x="5366" y="3409"/>
                  </a:lnTo>
                  <a:lnTo>
                    <a:pt x="4617" y="4614"/>
                  </a:lnTo>
                  <a:lnTo>
                    <a:pt x="4548" y="4569"/>
                  </a:lnTo>
                  <a:lnTo>
                    <a:pt x="5298" y="3364"/>
                  </a:lnTo>
                  <a:close/>
                  <a:moveTo>
                    <a:pt x="5366" y="3409"/>
                  </a:moveTo>
                  <a:lnTo>
                    <a:pt x="5396" y="3430"/>
                  </a:lnTo>
                  <a:lnTo>
                    <a:pt x="4991" y="4011"/>
                  </a:lnTo>
                  <a:lnTo>
                    <a:pt x="5366" y="3409"/>
                  </a:lnTo>
                  <a:close/>
                  <a:moveTo>
                    <a:pt x="5396" y="3430"/>
                  </a:moveTo>
                  <a:lnTo>
                    <a:pt x="5462" y="3478"/>
                  </a:lnTo>
                  <a:lnTo>
                    <a:pt x="4653" y="4639"/>
                  </a:lnTo>
                  <a:lnTo>
                    <a:pt x="4586" y="4591"/>
                  </a:lnTo>
                  <a:lnTo>
                    <a:pt x="5396" y="3430"/>
                  </a:lnTo>
                  <a:close/>
                  <a:moveTo>
                    <a:pt x="5462" y="3478"/>
                  </a:moveTo>
                  <a:lnTo>
                    <a:pt x="5484" y="3496"/>
                  </a:lnTo>
                  <a:lnTo>
                    <a:pt x="5057" y="4059"/>
                  </a:lnTo>
                  <a:lnTo>
                    <a:pt x="5462" y="3478"/>
                  </a:lnTo>
                  <a:close/>
                  <a:moveTo>
                    <a:pt x="5484" y="3496"/>
                  </a:moveTo>
                  <a:lnTo>
                    <a:pt x="5548" y="3547"/>
                  </a:lnTo>
                  <a:lnTo>
                    <a:pt x="4695" y="4673"/>
                  </a:lnTo>
                  <a:lnTo>
                    <a:pt x="4631" y="4622"/>
                  </a:lnTo>
                  <a:lnTo>
                    <a:pt x="5484" y="3496"/>
                  </a:lnTo>
                  <a:close/>
                  <a:moveTo>
                    <a:pt x="5548" y="3547"/>
                  </a:moveTo>
                  <a:lnTo>
                    <a:pt x="5581" y="3574"/>
                  </a:lnTo>
                  <a:lnTo>
                    <a:pt x="5122" y="4110"/>
                  </a:lnTo>
                  <a:lnTo>
                    <a:pt x="5548" y="3547"/>
                  </a:lnTo>
                  <a:close/>
                  <a:moveTo>
                    <a:pt x="5581" y="3574"/>
                  </a:moveTo>
                  <a:lnTo>
                    <a:pt x="5642" y="3629"/>
                  </a:lnTo>
                  <a:lnTo>
                    <a:pt x="4724" y="4701"/>
                  </a:lnTo>
                  <a:lnTo>
                    <a:pt x="4662" y="4645"/>
                  </a:lnTo>
                  <a:lnTo>
                    <a:pt x="5581" y="3574"/>
                  </a:lnTo>
                  <a:close/>
                  <a:moveTo>
                    <a:pt x="5642" y="3629"/>
                  </a:moveTo>
                  <a:lnTo>
                    <a:pt x="5664" y="3649"/>
                  </a:lnTo>
                  <a:lnTo>
                    <a:pt x="5183" y="4165"/>
                  </a:lnTo>
                  <a:lnTo>
                    <a:pt x="5642" y="3629"/>
                  </a:lnTo>
                  <a:close/>
                  <a:moveTo>
                    <a:pt x="5664" y="3649"/>
                  </a:moveTo>
                  <a:lnTo>
                    <a:pt x="5724" y="3707"/>
                  </a:lnTo>
                  <a:lnTo>
                    <a:pt x="4761" y="4738"/>
                  </a:lnTo>
                  <a:lnTo>
                    <a:pt x="4702" y="4681"/>
                  </a:lnTo>
                  <a:lnTo>
                    <a:pt x="5664" y="3649"/>
                  </a:lnTo>
                  <a:close/>
                  <a:moveTo>
                    <a:pt x="5724" y="3707"/>
                  </a:moveTo>
                  <a:lnTo>
                    <a:pt x="5748" y="3731"/>
                  </a:lnTo>
                  <a:lnTo>
                    <a:pt x="5243" y="4222"/>
                  </a:lnTo>
                  <a:lnTo>
                    <a:pt x="5724" y="3707"/>
                  </a:lnTo>
                  <a:close/>
                  <a:moveTo>
                    <a:pt x="5748" y="3731"/>
                  </a:moveTo>
                  <a:lnTo>
                    <a:pt x="5805" y="3793"/>
                  </a:lnTo>
                  <a:lnTo>
                    <a:pt x="4793" y="4774"/>
                  </a:lnTo>
                  <a:lnTo>
                    <a:pt x="4737" y="4714"/>
                  </a:lnTo>
                  <a:lnTo>
                    <a:pt x="5748" y="3731"/>
                  </a:lnTo>
                  <a:close/>
                  <a:moveTo>
                    <a:pt x="5805" y="3793"/>
                  </a:moveTo>
                  <a:lnTo>
                    <a:pt x="5830" y="3820"/>
                  </a:lnTo>
                  <a:lnTo>
                    <a:pt x="5299" y="4283"/>
                  </a:lnTo>
                  <a:lnTo>
                    <a:pt x="5805" y="3793"/>
                  </a:lnTo>
                  <a:close/>
                  <a:moveTo>
                    <a:pt x="5830" y="3820"/>
                  </a:moveTo>
                  <a:lnTo>
                    <a:pt x="5883" y="3883"/>
                  </a:lnTo>
                  <a:lnTo>
                    <a:pt x="4822" y="4810"/>
                  </a:lnTo>
                  <a:lnTo>
                    <a:pt x="4769" y="4746"/>
                  </a:lnTo>
                  <a:lnTo>
                    <a:pt x="5830" y="3820"/>
                  </a:lnTo>
                  <a:close/>
                  <a:moveTo>
                    <a:pt x="5883" y="3883"/>
                  </a:moveTo>
                  <a:lnTo>
                    <a:pt x="5900" y="3904"/>
                  </a:lnTo>
                  <a:lnTo>
                    <a:pt x="5353" y="4347"/>
                  </a:lnTo>
                  <a:lnTo>
                    <a:pt x="5883" y="3883"/>
                  </a:lnTo>
                  <a:close/>
                  <a:moveTo>
                    <a:pt x="5900" y="3904"/>
                  </a:moveTo>
                  <a:lnTo>
                    <a:pt x="5952" y="3970"/>
                  </a:lnTo>
                  <a:lnTo>
                    <a:pt x="4858" y="4857"/>
                  </a:lnTo>
                  <a:lnTo>
                    <a:pt x="4806" y="4790"/>
                  </a:lnTo>
                  <a:lnTo>
                    <a:pt x="5900" y="3904"/>
                  </a:lnTo>
                  <a:close/>
                  <a:moveTo>
                    <a:pt x="5952" y="3970"/>
                  </a:moveTo>
                  <a:lnTo>
                    <a:pt x="5973" y="4001"/>
                  </a:lnTo>
                  <a:lnTo>
                    <a:pt x="5405" y="4414"/>
                  </a:lnTo>
                  <a:lnTo>
                    <a:pt x="5952" y="3970"/>
                  </a:lnTo>
                  <a:close/>
                  <a:moveTo>
                    <a:pt x="5973" y="4001"/>
                  </a:moveTo>
                  <a:lnTo>
                    <a:pt x="6021" y="4069"/>
                  </a:lnTo>
                  <a:lnTo>
                    <a:pt x="4884" y="4894"/>
                  </a:lnTo>
                  <a:lnTo>
                    <a:pt x="4836" y="4826"/>
                  </a:lnTo>
                  <a:lnTo>
                    <a:pt x="5973" y="4001"/>
                  </a:lnTo>
                  <a:close/>
                  <a:moveTo>
                    <a:pt x="6021" y="4069"/>
                  </a:moveTo>
                  <a:lnTo>
                    <a:pt x="6041" y="4097"/>
                  </a:lnTo>
                  <a:lnTo>
                    <a:pt x="5453" y="4482"/>
                  </a:lnTo>
                  <a:lnTo>
                    <a:pt x="6021" y="4069"/>
                  </a:lnTo>
                  <a:close/>
                  <a:moveTo>
                    <a:pt x="6041" y="4097"/>
                  </a:moveTo>
                  <a:lnTo>
                    <a:pt x="6086" y="4169"/>
                  </a:lnTo>
                  <a:lnTo>
                    <a:pt x="4911" y="4939"/>
                  </a:lnTo>
                  <a:lnTo>
                    <a:pt x="4865" y="4867"/>
                  </a:lnTo>
                  <a:lnTo>
                    <a:pt x="6041" y="4097"/>
                  </a:lnTo>
                  <a:close/>
                  <a:moveTo>
                    <a:pt x="6086" y="4169"/>
                  </a:moveTo>
                  <a:lnTo>
                    <a:pt x="6103" y="4198"/>
                  </a:lnTo>
                  <a:lnTo>
                    <a:pt x="5499" y="4555"/>
                  </a:lnTo>
                  <a:lnTo>
                    <a:pt x="6086" y="4169"/>
                  </a:lnTo>
                  <a:close/>
                  <a:moveTo>
                    <a:pt x="6103" y="4198"/>
                  </a:moveTo>
                  <a:lnTo>
                    <a:pt x="6145" y="4272"/>
                  </a:lnTo>
                  <a:lnTo>
                    <a:pt x="4937" y="4986"/>
                  </a:lnTo>
                  <a:lnTo>
                    <a:pt x="4894" y="4912"/>
                  </a:lnTo>
                  <a:lnTo>
                    <a:pt x="6103" y="4198"/>
                  </a:lnTo>
                  <a:close/>
                  <a:moveTo>
                    <a:pt x="6145" y="4272"/>
                  </a:moveTo>
                  <a:lnTo>
                    <a:pt x="6159" y="4297"/>
                  </a:lnTo>
                  <a:lnTo>
                    <a:pt x="5541" y="4629"/>
                  </a:lnTo>
                  <a:lnTo>
                    <a:pt x="6145" y="4272"/>
                  </a:lnTo>
                  <a:close/>
                  <a:moveTo>
                    <a:pt x="6159" y="4297"/>
                  </a:moveTo>
                  <a:lnTo>
                    <a:pt x="6198" y="4373"/>
                  </a:lnTo>
                  <a:lnTo>
                    <a:pt x="4962" y="5037"/>
                  </a:lnTo>
                  <a:lnTo>
                    <a:pt x="4923" y="4961"/>
                  </a:lnTo>
                  <a:lnTo>
                    <a:pt x="6159" y="4297"/>
                  </a:lnTo>
                  <a:close/>
                  <a:moveTo>
                    <a:pt x="6198" y="4373"/>
                  </a:moveTo>
                  <a:lnTo>
                    <a:pt x="6212" y="4404"/>
                  </a:lnTo>
                  <a:lnTo>
                    <a:pt x="5580" y="4705"/>
                  </a:lnTo>
                  <a:lnTo>
                    <a:pt x="6198" y="4373"/>
                  </a:lnTo>
                  <a:close/>
                  <a:moveTo>
                    <a:pt x="6212" y="4404"/>
                  </a:moveTo>
                  <a:lnTo>
                    <a:pt x="6248" y="4483"/>
                  </a:lnTo>
                  <a:lnTo>
                    <a:pt x="4985" y="5085"/>
                  </a:lnTo>
                  <a:lnTo>
                    <a:pt x="4949" y="5007"/>
                  </a:lnTo>
                  <a:lnTo>
                    <a:pt x="6212" y="4404"/>
                  </a:lnTo>
                  <a:close/>
                  <a:moveTo>
                    <a:pt x="6248" y="4483"/>
                  </a:moveTo>
                  <a:lnTo>
                    <a:pt x="6262" y="4514"/>
                  </a:lnTo>
                  <a:lnTo>
                    <a:pt x="5617" y="4784"/>
                  </a:lnTo>
                  <a:lnTo>
                    <a:pt x="6248" y="4483"/>
                  </a:lnTo>
                  <a:close/>
                  <a:moveTo>
                    <a:pt x="6262" y="4514"/>
                  </a:moveTo>
                  <a:lnTo>
                    <a:pt x="6296" y="4595"/>
                  </a:lnTo>
                  <a:lnTo>
                    <a:pt x="5004" y="5136"/>
                  </a:lnTo>
                  <a:lnTo>
                    <a:pt x="4971" y="5055"/>
                  </a:lnTo>
                  <a:lnTo>
                    <a:pt x="6262" y="4514"/>
                  </a:lnTo>
                  <a:close/>
                  <a:moveTo>
                    <a:pt x="6296" y="4595"/>
                  </a:moveTo>
                  <a:lnTo>
                    <a:pt x="6309" y="4628"/>
                  </a:lnTo>
                  <a:lnTo>
                    <a:pt x="5649" y="4866"/>
                  </a:lnTo>
                  <a:lnTo>
                    <a:pt x="6296" y="4595"/>
                  </a:lnTo>
                  <a:close/>
                  <a:moveTo>
                    <a:pt x="6309" y="4628"/>
                  </a:moveTo>
                  <a:lnTo>
                    <a:pt x="6338" y="4712"/>
                  </a:lnTo>
                  <a:lnTo>
                    <a:pt x="5019" y="5186"/>
                  </a:lnTo>
                  <a:lnTo>
                    <a:pt x="4990" y="5103"/>
                  </a:lnTo>
                  <a:lnTo>
                    <a:pt x="6309" y="4628"/>
                  </a:lnTo>
                  <a:close/>
                  <a:moveTo>
                    <a:pt x="6338" y="4712"/>
                  </a:moveTo>
                  <a:lnTo>
                    <a:pt x="6346" y="4739"/>
                  </a:lnTo>
                  <a:lnTo>
                    <a:pt x="5678" y="4949"/>
                  </a:lnTo>
                  <a:lnTo>
                    <a:pt x="6338" y="4712"/>
                  </a:lnTo>
                  <a:close/>
                  <a:moveTo>
                    <a:pt x="6346" y="4739"/>
                  </a:moveTo>
                  <a:lnTo>
                    <a:pt x="6372" y="4825"/>
                  </a:lnTo>
                  <a:lnTo>
                    <a:pt x="5037" y="5243"/>
                  </a:lnTo>
                  <a:lnTo>
                    <a:pt x="5011" y="5158"/>
                  </a:lnTo>
                  <a:lnTo>
                    <a:pt x="6346" y="4739"/>
                  </a:lnTo>
                  <a:close/>
                  <a:moveTo>
                    <a:pt x="6372" y="4825"/>
                  </a:moveTo>
                  <a:lnTo>
                    <a:pt x="6380" y="4859"/>
                  </a:lnTo>
                  <a:lnTo>
                    <a:pt x="5704" y="5034"/>
                  </a:lnTo>
                  <a:lnTo>
                    <a:pt x="6372" y="4825"/>
                  </a:lnTo>
                  <a:close/>
                  <a:moveTo>
                    <a:pt x="6380" y="4859"/>
                  </a:moveTo>
                  <a:lnTo>
                    <a:pt x="6402" y="4945"/>
                  </a:lnTo>
                  <a:lnTo>
                    <a:pt x="5051" y="5297"/>
                  </a:lnTo>
                  <a:lnTo>
                    <a:pt x="5029" y="5210"/>
                  </a:lnTo>
                  <a:lnTo>
                    <a:pt x="6380" y="4859"/>
                  </a:lnTo>
                  <a:close/>
                  <a:moveTo>
                    <a:pt x="6402" y="4945"/>
                  </a:moveTo>
                  <a:lnTo>
                    <a:pt x="6411" y="4973"/>
                  </a:lnTo>
                  <a:lnTo>
                    <a:pt x="5726" y="5121"/>
                  </a:lnTo>
                  <a:lnTo>
                    <a:pt x="6402" y="4945"/>
                  </a:lnTo>
                  <a:close/>
                  <a:moveTo>
                    <a:pt x="6411" y="4973"/>
                  </a:moveTo>
                  <a:lnTo>
                    <a:pt x="6429" y="5062"/>
                  </a:lnTo>
                  <a:lnTo>
                    <a:pt x="5061" y="5358"/>
                  </a:lnTo>
                  <a:lnTo>
                    <a:pt x="5043" y="5269"/>
                  </a:lnTo>
                  <a:lnTo>
                    <a:pt x="6411" y="4973"/>
                  </a:lnTo>
                  <a:close/>
                  <a:moveTo>
                    <a:pt x="6429" y="5062"/>
                  </a:moveTo>
                  <a:lnTo>
                    <a:pt x="6434" y="5095"/>
                  </a:lnTo>
                  <a:lnTo>
                    <a:pt x="5744" y="5210"/>
                  </a:lnTo>
                  <a:lnTo>
                    <a:pt x="6429" y="5062"/>
                  </a:lnTo>
                  <a:close/>
                  <a:moveTo>
                    <a:pt x="6434" y="5095"/>
                  </a:moveTo>
                  <a:lnTo>
                    <a:pt x="6449" y="5185"/>
                  </a:lnTo>
                  <a:lnTo>
                    <a:pt x="5070" y="5414"/>
                  </a:lnTo>
                  <a:lnTo>
                    <a:pt x="5055" y="5324"/>
                  </a:lnTo>
                  <a:lnTo>
                    <a:pt x="6434" y="5095"/>
                  </a:lnTo>
                  <a:close/>
                  <a:moveTo>
                    <a:pt x="6449" y="5185"/>
                  </a:moveTo>
                  <a:lnTo>
                    <a:pt x="6454" y="5219"/>
                  </a:lnTo>
                  <a:lnTo>
                    <a:pt x="5759" y="5299"/>
                  </a:lnTo>
                  <a:lnTo>
                    <a:pt x="6449" y="5185"/>
                  </a:lnTo>
                  <a:close/>
                  <a:moveTo>
                    <a:pt x="6454" y="5219"/>
                  </a:moveTo>
                  <a:lnTo>
                    <a:pt x="6465" y="5311"/>
                  </a:lnTo>
                  <a:lnTo>
                    <a:pt x="5075" y="5472"/>
                  </a:lnTo>
                  <a:lnTo>
                    <a:pt x="5064" y="5380"/>
                  </a:lnTo>
                  <a:lnTo>
                    <a:pt x="6454" y="5219"/>
                  </a:lnTo>
                  <a:close/>
                  <a:moveTo>
                    <a:pt x="6465" y="5311"/>
                  </a:moveTo>
                  <a:lnTo>
                    <a:pt x="6468" y="5349"/>
                  </a:lnTo>
                  <a:lnTo>
                    <a:pt x="5769" y="5391"/>
                  </a:lnTo>
                  <a:lnTo>
                    <a:pt x="6465" y="5311"/>
                  </a:lnTo>
                  <a:close/>
                  <a:moveTo>
                    <a:pt x="6468" y="5349"/>
                  </a:moveTo>
                  <a:lnTo>
                    <a:pt x="6473" y="5442"/>
                  </a:lnTo>
                  <a:lnTo>
                    <a:pt x="5078" y="5526"/>
                  </a:lnTo>
                  <a:lnTo>
                    <a:pt x="5072" y="5433"/>
                  </a:lnTo>
                  <a:lnTo>
                    <a:pt x="6468" y="5349"/>
                  </a:lnTo>
                  <a:close/>
                  <a:moveTo>
                    <a:pt x="6473" y="5442"/>
                  </a:moveTo>
                  <a:lnTo>
                    <a:pt x="6473" y="5471"/>
                  </a:lnTo>
                  <a:lnTo>
                    <a:pt x="5775" y="5484"/>
                  </a:lnTo>
                  <a:lnTo>
                    <a:pt x="6473" y="5442"/>
                  </a:lnTo>
                  <a:close/>
                  <a:moveTo>
                    <a:pt x="6473" y="5471"/>
                  </a:moveTo>
                  <a:lnTo>
                    <a:pt x="6475" y="5565"/>
                  </a:lnTo>
                  <a:lnTo>
                    <a:pt x="5080" y="5592"/>
                  </a:lnTo>
                  <a:lnTo>
                    <a:pt x="5078" y="5498"/>
                  </a:lnTo>
                  <a:lnTo>
                    <a:pt x="6473" y="5471"/>
                  </a:lnTo>
                  <a:close/>
                  <a:moveTo>
                    <a:pt x="6475" y="5565"/>
                  </a:moveTo>
                  <a:lnTo>
                    <a:pt x="6475" y="5589"/>
                  </a:lnTo>
                  <a:lnTo>
                    <a:pt x="5777" y="5578"/>
                  </a:lnTo>
                  <a:lnTo>
                    <a:pt x="6475" y="5565"/>
                  </a:lnTo>
                  <a:close/>
                  <a:moveTo>
                    <a:pt x="6475" y="5589"/>
                  </a:moveTo>
                  <a:lnTo>
                    <a:pt x="6473" y="5684"/>
                  </a:lnTo>
                  <a:lnTo>
                    <a:pt x="5078" y="5663"/>
                  </a:lnTo>
                  <a:lnTo>
                    <a:pt x="5080" y="5568"/>
                  </a:lnTo>
                  <a:lnTo>
                    <a:pt x="6475" y="5589"/>
                  </a:lnTo>
                  <a:close/>
                  <a:moveTo>
                    <a:pt x="6473" y="5684"/>
                  </a:moveTo>
                  <a:lnTo>
                    <a:pt x="6473" y="5715"/>
                  </a:lnTo>
                  <a:lnTo>
                    <a:pt x="5775" y="5673"/>
                  </a:lnTo>
                  <a:lnTo>
                    <a:pt x="6473" y="5684"/>
                  </a:lnTo>
                  <a:close/>
                  <a:moveTo>
                    <a:pt x="6473" y="5715"/>
                  </a:moveTo>
                  <a:lnTo>
                    <a:pt x="6468" y="5809"/>
                  </a:lnTo>
                  <a:lnTo>
                    <a:pt x="5072" y="5725"/>
                  </a:lnTo>
                  <a:lnTo>
                    <a:pt x="5078" y="5631"/>
                  </a:lnTo>
                  <a:lnTo>
                    <a:pt x="6473" y="5715"/>
                  </a:lnTo>
                  <a:close/>
                  <a:moveTo>
                    <a:pt x="6468" y="5809"/>
                  </a:moveTo>
                  <a:lnTo>
                    <a:pt x="6465" y="5847"/>
                  </a:lnTo>
                  <a:lnTo>
                    <a:pt x="5769" y="5767"/>
                  </a:lnTo>
                  <a:lnTo>
                    <a:pt x="6468" y="5809"/>
                  </a:lnTo>
                  <a:close/>
                  <a:moveTo>
                    <a:pt x="6465" y="5847"/>
                  </a:moveTo>
                  <a:lnTo>
                    <a:pt x="6454" y="5938"/>
                  </a:lnTo>
                  <a:lnTo>
                    <a:pt x="5064" y="5777"/>
                  </a:lnTo>
                  <a:lnTo>
                    <a:pt x="5075" y="5686"/>
                  </a:lnTo>
                  <a:lnTo>
                    <a:pt x="6465" y="5847"/>
                  </a:lnTo>
                  <a:close/>
                  <a:moveTo>
                    <a:pt x="6454" y="5938"/>
                  </a:moveTo>
                  <a:lnTo>
                    <a:pt x="6449" y="5972"/>
                  </a:lnTo>
                  <a:lnTo>
                    <a:pt x="5759" y="5858"/>
                  </a:lnTo>
                  <a:lnTo>
                    <a:pt x="6454" y="5938"/>
                  </a:lnTo>
                  <a:close/>
                  <a:moveTo>
                    <a:pt x="6449" y="5972"/>
                  </a:moveTo>
                  <a:lnTo>
                    <a:pt x="6434" y="6062"/>
                  </a:lnTo>
                  <a:lnTo>
                    <a:pt x="5055" y="5833"/>
                  </a:lnTo>
                  <a:lnTo>
                    <a:pt x="5070" y="5743"/>
                  </a:lnTo>
                  <a:lnTo>
                    <a:pt x="6449" y="5972"/>
                  </a:lnTo>
                  <a:close/>
                  <a:moveTo>
                    <a:pt x="6434" y="6062"/>
                  </a:moveTo>
                  <a:lnTo>
                    <a:pt x="6429" y="6092"/>
                  </a:lnTo>
                  <a:lnTo>
                    <a:pt x="5744" y="5947"/>
                  </a:lnTo>
                  <a:lnTo>
                    <a:pt x="6434" y="6062"/>
                  </a:lnTo>
                  <a:close/>
                  <a:moveTo>
                    <a:pt x="6429" y="6092"/>
                  </a:moveTo>
                  <a:lnTo>
                    <a:pt x="6411" y="6182"/>
                  </a:lnTo>
                  <a:lnTo>
                    <a:pt x="5043" y="5891"/>
                  </a:lnTo>
                  <a:lnTo>
                    <a:pt x="5061" y="5802"/>
                  </a:lnTo>
                  <a:lnTo>
                    <a:pt x="6429" y="6092"/>
                  </a:lnTo>
                  <a:close/>
                  <a:moveTo>
                    <a:pt x="6411" y="6182"/>
                  </a:moveTo>
                  <a:lnTo>
                    <a:pt x="6402" y="6213"/>
                  </a:lnTo>
                  <a:lnTo>
                    <a:pt x="5726" y="6037"/>
                  </a:lnTo>
                  <a:lnTo>
                    <a:pt x="6411" y="6182"/>
                  </a:lnTo>
                  <a:close/>
                  <a:moveTo>
                    <a:pt x="6402" y="6213"/>
                  </a:moveTo>
                  <a:lnTo>
                    <a:pt x="6380" y="6299"/>
                  </a:lnTo>
                  <a:lnTo>
                    <a:pt x="5029" y="5948"/>
                  </a:lnTo>
                  <a:lnTo>
                    <a:pt x="5051" y="5861"/>
                  </a:lnTo>
                  <a:lnTo>
                    <a:pt x="6402" y="6213"/>
                  </a:lnTo>
                  <a:close/>
                  <a:moveTo>
                    <a:pt x="6380" y="6299"/>
                  </a:moveTo>
                  <a:lnTo>
                    <a:pt x="6372" y="6333"/>
                  </a:lnTo>
                  <a:lnTo>
                    <a:pt x="5704" y="6124"/>
                  </a:lnTo>
                  <a:lnTo>
                    <a:pt x="6380" y="6299"/>
                  </a:lnTo>
                  <a:close/>
                  <a:moveTo>
                    <a:pt x="6372" y="6333"/>
                  </a:moveTo>
                  <a:lnTo>
                    <a:pt x="6346" y="6419"/>
                  </a:lnTo>
                  <a:lnTo>
                    <a:pt x="5011" y="5999"/>
                  </a:lnTo>
                  <a:lnTo>
                    <a:pt x="5037" y="5915"/>
                  </a:lnTo>
                  <a:lnTo>
                    <a:pt x="6372" y="6333"/>
                  </a:lnTo>
                  <a:close/>
                  <a:moveTo>
                    <a:pt x="6346" y="6419"/>
                  </a:moveTo>
                  <a:lnTo>
                    <a:pt x="6338" y="6446"/>
                  </a:lnTo>
                  <a:lnTo>
                    <a:pt x="5678" y="6210"/>
                  </a:lnTo>
                  <a:lnTo>
                    <a:pt x="6346" y="6419"/>
                  </a:lnTo>
                  <a:close/>
                  <a:moveTo>
                    <a:pt x="6338" y="6446"/>
                  </a:moveTo>
                  <a:lnTo>
                    <a:pt x="6309" y="6529"/>
                  </a:lnTo>
                  <a:lnTo>
                    <a:pt x="4990" y="6056"/>
                  </a:lnTo>
                  <a:lnTo>
                    <a:pt x="5019" y="5972"/>
                  </a:lnTo>
                  <a:lnTo>
                    <a:pt x="6338" y="6446"/>
                  </a:lnTo>
                  <a:close/>
                  <a:moveTo>
                    <a:pt x="6309" y="6529"/>
                  </a:moveTo>
                  <a:lnTo>
                    <a:pt x="6296" y="6563"/>
                  </a:lnTo>
                  <a:lnTo>
                    <a:pt x="5649" y="6292"/>
                  </a:lnTo>
                  <a:lnTo>
                    <a:pt x="6309" y="6529"/>
                  </a:lnTo>
                  <a:close/>
                  <a:moveTo>
                    <a:pt x="6296" y="6563"/>
                  </a:moveTo>
                  <a:lnTo>
                    <a:pt x="6262" y="6644"/>
                  </a:lnTo>
                  <a:lnTo>
                    <a:pt x="4971" y="6103"/>
                  </a:lnTo>
                  <a:lnTo>
                    <a:pt x="5004" y="6022"/>
                  </a:lnTo>
                  <a:lnTo>
                    <a:pt x="6296" y="6563"/>
                  </a:lnTo>
                  <a:close/>
                  <a:moveTo>
                    <a:pt x="6262" y="6644"/>
                  </a:moveTo>
                  <a:lnTo>
                    <a:pt x="6248" y="6678"/>
                  </a:lnTo>
                  <a:lnTo>
                    <a:pt x="5617" y="6374"/>
                  </a:lnTo>
                  <a:lnTo>
                    <a:pt x="6262" y="6644"/>
                  </a:lnTo>
                  <a:close/>
                  <a:moveTo>
                    <a:pt x="6248" y="6678"/>
                  </a:moveTo>
                  <a:lnTo>
                    <a:pt x="6212" y="6755"/>
                  </a:lnTo>
                  <a:lnTo>
                    <a:pt x="4949" y="6148"/>
                  </a:lnTo>
                  <a:lnTo>
                    <a:pt x="4985" y="6070"/>
                  </a:lnTo>
                  <a:lnTo>
                    <a:pt x="6248" y="6678"/>
                  </a:lnTo>
                  <a:close/>
                  <a:moveTo>
                    <a:pt x="6212" y="6755"/>
                  </a:moveTo>
                  <a:lnTo>
                    <a:pt x="6201" y="6781"/>
                  </a:lnTo>
                  <a:lnTo>
                    <a:pt x="5580" y="6451"/>
                  </a:lnTo>
                  <a:lnTo>
                    <a:pt x="6212" y="6755"/>
                  </a:lnTo>
                  <a:close/>
                  <a:moveTo>
                    <a:pt x="6201" y="6781"/>
                  </a:moveTo>
                  <a:lnTo>
                    <a:pt x="6162" y="6858"/>
                  </a:lnTo>
                  <a:lnTo>
                    <a:pt x="4920" y="6200"/>
                  </a:lnTo>
                  <a:lnTo>
                    <a:pt x="4960" y="6123"/>
                  </a:lnTo>
                  <a:lnTo>
                    <a:pt x="6201" y="6781"/>
                  </a:lnTo>
                  <a:close/>
                  <a:moveTo>
                    <a:pt x="6162" y="6858"/>
                  </a:moveTo>
                  <a:lnTo>
                    <a:pt x="6145" y="6886"/>
                  </a:lnTo>
                  <a:lnTo>
                    <a:pt x="5541" y="6529"/>
                  </a:lnTo>
                  <a:lnTo>
                    <a:pt x="6162" y="6858"/>
                  </a:lnTo>
                  <a:close/>
                  <a:moveTo>
                    <a:pt x="6145" y="6886"/>
                  </a:moveTo>
                  <a:lnTo>
                    <a:pt x="6103" y="6961"/>
                  </a:lnTo>
                  <a:lnTo>
                    <a:pt x="4894" y="6246"/>
                  </a:lnTo>
                  <a:lnTo>
                    <a:pt x="4937" y="6172"/>
                  </a:lnTo>
                  <a:lnTo>
                    <a:pt x="6145" y="6886"/>
                  </a:lnTo>
                  <a:close/>
                  <a:moveTo>
                    <a:pt x="6103" y="6961"/>
                  </a:moveTo>
                  <a:lnTo>
                    <a:pt x="6084" y="6994"/>
                  </a:lnTo>
                  <a:lnTo>
                    <a:pt x="5499" y="6603"/>
                  </a:lnTo>
                  <a:lnTo>
                    <a:pt x="6103" y="6961"/>
                  </a:lnTo>
                  <a:close/>
                  <a:moveTo>
                    <a:pt x="6084" y="6994"/>
                  </a:moveTo>
                  <a:lnTo>
                    <a:pt x="6038" y="7066"/>
                  </a:lnTo>
                  <a:lnTo>
                    <a:pt x="4868" y="6285"/>
                  </a:lnTo>
                  <a:lnTo>
                    <a:pt x="4913" y="6213"/>
                  </a:lnTo>
                  <a:lnTo>
                    <a:pt x="6084" y="6994"/>
                  </a:lnTo>
                  <a:close/>
                  <a:moveTo>
                    <a:pt x="6038" y="7066"/>
                  </a:moveTo>
                  <a:lnTo>
                    <a:pt x="6024" y="7085"/>
                  </a:lnTo>
                  <a:lnTo>
                    <a:pt x="5453" y="6675"/>
                  </a:lnTo>
                  <a:lnTo>
                    <a:pt x="6038" y="7066"/>
                  </a:lnTo>
                  <a:close/>
                  <a:moveTo>
                    <a:pt x="6024" y="7085"/>
                  </a:moveTo>
                  <a:lnTo>
                    <a:pt x="5976" y="7154"/>
                  </a:lnTo>
                  <a:lnTo>
                    <a:pt x="4833" y="6335"/>
                  </a:lnTo>
                  <a:lnTo>
                    <a:pt x="4881" y="6265"/>
                  </a:lnTo>
                  <a:lnTo>
                    <a:pt x="6024" y="7085"/>
                  </a:lnTo>
                  <a:close/>
                  <a:moveTo>
                    <a:pt x="5976" y="7154"/>
                  </a:moveTo>
                  <a:lnTo>
                    <a:pt x="5952" y="7188"/>
                  </a:lnTo>
                  <a:lnTo>
                    <a:pt x="5405" y="6744"/>
                  </a:lnTo>
                  <a:lnTo>
                    <a:pt x="5976" y="7154"/>
                  </a:lnTo>
                  <a:close/>
                  <a:moveTo>
                    <a:pt x="5952" y="7188"/>
                  </a:moveTo>
                  <a:lnTo>
                    <a:pt x="5900" y="7254"/>
                  </a:lnTo>
                  <a:lnTo>
                    <a:pt x="4806" y="6368"/>
                  </a:lnTo>
                  <a:lnTo>
                    <a:pt x="4858" y="6301"/>
                  </a:lnTo>
                  <a:lnTo>
                    <a:pt x="5952" y="7188"/>
                  </a:lnTo>
                  <a:close/>
                  <a:moveTo>
                    <a:pt x="5900" y="7254"/>
                  </a:moveTo>
                  <a:lnTo>
                    <a:pt x="5881" y="7277"/>
                  </a:lnTo>
                  <a:lnTo>
                    <a:pt x="5353" y="6812"/>
                  </a:lnTo>
                  <a:lnTo>
                    <a:pt x="5900" y="7254"/>
                  </a:lnTo>
                  <a:close/>
                  <a:moveTo>
                    <a:pt x="5881" y="7277"/>
                  </a:moveTo>
                  <a:lnTo>
                    <a:pt x="5827" y="7341"/>
                  </a:lnTo>
                  <a:lnTo>
                    <a:pt x="4771" y="6409"/>
                  </a:lnTo>
                  <a:lnTo>
                    <a:pt x="4825" y="6345"/>
                  </a:lnTo>
                  <a:lnTo>
                    <a:pt x="5881" y="7277"/>
                  </a:lnTo>
                  <a:close/>
                  <a:moveTo>
                    <a:pt x="5827" y="7341"/>
                  </a:moveTo>
                  <a:lnTo>
                    <a:pt x="5805" y="7366"/>
                  </a:lnTo>
                  <a:lnTo>
                    <a:pt x="5299" y="6875"/>
                  </a:lnTo>
                  <a:lnTo>
                    <a:pt x="5827" y="7341"/>
                  </a:lnTo>
                  <a:close/>
                  <a:moveTo>
                    <a:pt x="5805" y="7366"/>
                  </a:moveTo>
                  <a:lnTo>
                    <a:pt x="5748" y="7427"/>
                  </a:lnTo>
                  <a:lnTo>
                    <a:pt x="4737" y="6444"/>
                  </a:lnTo>
                  <a:lnTo>
                    <a:pt x="4793" y="6384"/>
                  </a:lnTo>
                  <a:lnTo>
                    <a:pt x="5805" y="7366"/>
                  </a:lnTo>
                  <a:close/>
                  <a:moveTo>
                    <a:pt x="5748" y="7427"/>
                  </a:moveTo>
                  <a:lnTo>
                    <a:pt x="5724" y="7451"/>
                  </a:lnTo>
                  <a:lnTo>
                    <a:pt x="5243" y="6935"/>
                  </a:lnTo>
                  <a:lnTo>
                    <a:pt x="5748" y="7427"/>
                  </a:lnTo>
                  <a:close/>
                  <a:moveTo>
                    <a:pt x="5724" y="7451"/>
                  </a:moveTo>
                  <a:lnTo>
                    <a:pt x="5664" y="7509"/>
                  </a:lnTo>
                  <a:lnTo>
                    <a:pt x="4702" y="6477"/>
                  </a:lnTo>
                  <a:lnTo>
                    <a:pt x="4761" y="6420"/>
                  </a:lnTo>
                  <a:lnTo>
                    <a:pt x="5724" y="7451"/>
                  </a:lnTo>
                  <a:close/>
                  <a:moveTo>
                    <a:pt x="5664" y="7509"/>
                  </a:moveTo>
                  <a:lnTo>
                    <a:pt x="5637" y="7535"/>
                  </a:lnTo>
                  <a:lnTo>
                    <a:pt x="5183" y="6993"/>
                  </a:lnTo>
                  <a:lnTo>
                    <a:pt x="5664" y="7509"/>
                  </a:lnTo>
                  <a:close/>
                  <a:moveTo>
                    <a:pt x="5637" y="7535"/>
                  </a:moveTo>
                  <a:lnTo>
                    <a:pt x="5575" y="7588"/>
                  </a:lnTo>
                  <a:lnTo>
                    <a:pt x="4668" y="6505"/>
                  </a:lnTo>
                  <a:lnTo>
                    <a:pt x="4729" y="6452"/>
                  </a:lnTo>
                  <a:lnTo>
                    <a:pt x="5637" y="7535"/>
                  </a:lnTo>
                  <a:close/>
                  <a:moveTo>
                    <a:pt x="5575" y="7588"/>
                  </a:moveTo>
                  <a:lnTo>
                    <a:pt x="5548" y="7610"/>
                  </a:lnTo>
                  <a:lnTo>
                    <a:pt x="5122" y="7047"/>
                  </a:lnTo>
                  <a:lnTo>
                    <a:pt x="5575" y="7588"/>
                  </a:lnTo>
                  <a:close/>
                  <a:moveTo>
                    <a:pt x="5548" y="7610"/>
                  </a:moveTo>
                  <a:lnTo>
                    <a:pt x="5484" y="7661"/>
                  </a:lnTo>
                  <a:lnTo>
                    <a:pt x="4631" y="6535"/>
                  </a:lnTo>
                  <a:lnTo>
                    <a:pt x="4695" y="6484"/>
                  </a:lnTo>
                  <a:lnTo>
                    <a:pt x="5548" y="7610"/>
                  </a:lnTo>
                  <a:close/>
                  <a:moveTo>
                    <a:pt x="5484" y="7661"/>
                  </a:moveTo>
                  <a:lnTo>
                    <a:pt x="5462" y="7679"/>
                  </a:lnTo>
                  <a:lnTo>
                    <a:pt x="5057" y="7098"/>
                  </a:lnTo>
                  <a:lnTo>
                    <a:pt x="5484" y="7661"/>
                  </a:lnTo>
                  <a:close/>
                  <a:moveTo>
                    <a:pt x="5462" y="7679"/>
                  </a:moveTo>
                  <a:lnTo>
                    <a:pt x="5396" y="7727"/>
                  </a:lnTo>
                  <a:lnTo>
                    <a:pt x="4586" y="6566"/>
                  </a:lnTo>
                  <a:lnTo>
                    <a:pt x="4653" y="6518"/>
                  </a:lnTo>
                  <a:lnTo>
                    <a:pt x="5462" y="7679"/>
                  </a:lnTo>
                  <a:close/>
                  <a:moveTo>
                    <a:pt x="5396" y="7727"/>
                  </a:moveTo>
                  <a:lnTo>
                    <a:pt x="5366" y="7748"/>
                  </a:lnTo>
                  <a:lnTo>
                    <a:pt x="4991" y="7146"/>
                  </a:lnTo>
                  <a:lnTo>
                    <a:pt x="5396" y="7727"/>
                  </a:lnTo>
                  <a:close/>
                  <a:moveTo>
                    <a:pt x="5366" y="7748"/>
                  </a:moveTo>
                  <a:lnTo>
                    <a:pt x="5298" y="7793"/>
                  </a:lnTo>
                  <a:lnTo>
                    <a:pt x="4548" y="6587"/>
                  </a:lnTo>
                  <a:lnTo>
                    <a:pt x="4617" y="6543"/>
                  </a:lnTo>
                  <a:lnTo>
                    <a:pt x="5366" y="7748"/>
                  </a:lnTo>
                  <a:close/>
                  <a:moveTo>
                    <a:pt x="5298" y="7793"/>
                  </a:moveTo>
                  <a:lnTo>
                    <a:pt x="5270" y="7806"/>
                  </a:lnTo>
                  <a:lnTo>
                    <a:pt x="4923" y="7190"/>
                  </a:lnTo>
                  <a:lnTo>
                    <a:pt x="5298" y="7793"/>
                  </a:lnTo>
                  <a:close/>
                  <a:moveTo>
                    <a:pt x="5270" y="7806"/>
                  </a:moveTo>
                  <a:lnTo>
                    <a:pt x="5200" y="7848"/>
                  </a:lnTo>
                  <a:lnTo>
                    <a:pt x="4506" y="6615"/>
                  </a:lnTo>
                  <a:lnTo>
                    <a:pt x="4576" y="6574"/>
                  </a:lnTo>
                  <a:lnTo>
                    <a:pt x="5270" y="7806"/>
                  </a:lnTo>
                  <a:close/>
                  <a:moveTo>
                    <a:pt x="5200" y="7848"/>
                  </a:moveTo>
                  <a:lnTo>
                    <a:pt x="5162" y="7871"/>
                  </a:lnTo>
                  <a:lnTo>
                    <a:pt x="4853" y="7231"/>
                  </a:lnTo>
                  <a:lnTo>
                    <a:pt x="5200" y="7848"/>
                  </a:lnTo>
                  <a:close/>
                  <a:moveTo>
                    <a:pt x="5162" y="7871"/>
                  </a:moveTo>
                  <a:lnTo>
                    <a:pt x="5090" y="7906"/>
                  </a:lnTo>
                  <a:lnTo>
                    <a:pt x="4472" y="6629"/>
                  </a:lnTo>
                  <a:lnTo>
                    <a:pt x="4544" y="6592"/>
                  </a:lnTo>
                  <a:lnTo>
                    <a:pt x="5162" y="7871"/>
                  </a:lnTo>
                  <a:close/>
                  <a:moveTo>
                    <a:pt x="5090" y="7906"/>
                  </a:moveTo>
                  <a:lnTo>
                    <a:pt x="5060" y="7921"/>
                  </a:lnTo>
                  <a:lnTo>
                    <a:pt x="4781" y="7268"/>
                  </a:lnTo>
                  <a:lnTo>
                    <a:pt x="5090" y="7906"/>
                  </a:lnTo>
                  <a:close/>
                  <a:moveTo>
                    <a:pt x="5060" y="7921"/>
                  </a:moveTo>
                  <a:lnTo>
                    <a:pt x="4985" y="7953"/>
                  </a:lnTo>
                  <a:lnTo>
                    <a:pt x="4427" y="6648"/>
                  </a:lnTo>
                  <a:lnTo>
                    <a:pt x="4502" y="6615"/>
                  </a:lnTo>
                  <a:lnTo>
                    <a:pt x="5060" y="7921"/>
                  </a:lnTo>
                  <a:close/>
                  <a:moveTo>
                    <a:pt x="4985" y="7953"/>
                  </a:moveTo>
                  <a:lnTo>
                    <a:pt x="4947" y="7971"/>
                  </a:lnTo>
                  <a:lnTo>
                    <a:pt x="4706" y="7300"/>
                  </a:lnTo>
                  <a:lnTo>
                    <a:pt x="4985" y="7953"/>
                  </a:lnTo>
                  <a:close/>
                  <a:moveTo>
                    <a:pt x="4947" y="7971"/>
                  </a:moveTo>
                  <a:lnTo>
                    <a:pt x="4871" y="7999"/>
                  </a:lnTo>
                  <a:lnTo>
                    <a:pt x="4390" y="6660"/>
                  </a:lnTo>
                  <a:lnTo>
                    <a:pt x="4466" y="6631"/>
                  </a:lnTo>
                  <a:lnTo>
                    <a:pt x="4947" y="7971"/>
                  </a:lnTo>
                  <a:close/>
                  <a:moveTo>
                    <a:pt x="4871" y="7999"/>
                  </a:moveTo>
                  <a:lnTo>
                    <a:pt x="4838" y="8009"/>
                  </a:lnTo>
                  <a:lnTo>
                    <a:pt x="4630" y="7329"/>
                  </a:lnTo>
                  <a:lnTo>
                    <a:pt x="4871" y="7999"/>
                  </a:lnTo>
                  <a:close/>
                  <a:moveTo>
                    <a:pt x="4838" y="8009"/>
                  </a:moveTo>
                  <a:lnTo>
                    <a:pt x="4761" y="8034"/>
                  </a:lnTo>
                  <a:lnTo>
                    <a:pt x="4346" y="6673"/>
                  </a:lnTo>
                  <a:lnTo>
                    <a:pt x="4422" y="6648"/>
                  </a:lnTo>
                  <a:lnTo>
                    <a:pt x="4838" y="8009"/>
                  </a:lnTo>
                  <a:close/>
                  <a:moveTo>
                    <a:pt x="4761" y="8034"/>
                  </a:moveTo>
                  <a:lnTo>
                    <a:pt x="4726" y="8045"/>
                  </a:lnTo>
                  <a:lnTo>
                    <a:pt x="4554" y="7353"/>
                  </a:lnTo>
                  <a:lnTo>
                    <a:pt x="4761" y="8034"/>
                  </a:lnTo>
                  <a:close/>
                  <a:moveTo>
                    <a:pt x="4726" y="8045"/>
                  </a:moveTo>
                  <a:lnTo>
                    <a:pt x="4646" y="8065"/>
                  </a:lnTo>
                  <a:lnTo>
                    <a:pt x="4302" y="6682"/>
                  </a:lnTo>
                  <a:lnTo>
                    <a:pt x="4381" y="6662"/>
                  </a:lnTo>
                  <a:lnTo>
                    <a:pt x="4726" y="8045"/>
                  </a:lnTo>
                  <a:close/>
                  <a:moveTo>
                    <a:pt x="4646" y="8065"/>
                  </a:moveTo>
                  <a:lnTo>
                    <a:pt x="4614" y="8072"/>
                  </a:lnTo>
                  <a:lnTo>
                    <a:pt x="4474" y="7374"/>
                  </a:lnTo>
                  <a:lnTo>
                    <a:pt x="4646" y="8065"/>
                  </a:lnTo>
                  <a:close/>
                  <a:moveTo>
                    <a:pt x="4614" y="8072"/>
                  </a:moveTo>
                  <a:lnTo>
                    <a:pt x="4534" y="8088"/>
                  </a:lnTo>
                  <a:lnTo>
                    <a:pt x="4255" y="6693"/>
                  </a:lnTo>
                  <a:lnTo>
                    <a:pt x="4335" y="6677"/>
                  </a:lnTo>
                  <a:lnTo>
                    <a:pt x="4614" y="8072"/>
                  </a:lnTo>
                  <a:close/>
                  <a:moveTo>
                    <a:pt x="4534" y="8088"/>
                  </a:moveTo>
                  <a:lnTo>
                    <a:pt x="4490" y="8097"/>
                  </a:lnTo>
                  <a:lnTo>
                    <a:pt x="4394" y="7391"/>
                  </a:lnTo>
                  <a:lnTo>
                    <a:pt x="4534" y="8088"/>
                  </a:lnTo>
                  <a:close/>
                  <a:moveTo>
                    <a:pt x="4490" y="8097"/>
                  </a:moveTo>
                  <a:lnTo>
                    <a:pt x="4408" y="8108"/>
                  </a:lnTo>
                  <a:lnTo>
                    <a:pt x="4217" y="6697"/>
                  </a:lnTo>
                  <a:lnTo>
                    <a:pt x="4299" y="6685"/>
                  </a:lnTo>
                  <a:lnTo>
                    <a:pt x="4490" y="8097"/>
                  </a:lnTo>
                  <a:close/>
                  <a:moveTo>
                    <a:pt x="4408" y="8108"/>
                  </a:moveTo>
                  <a:lnTo>
                    <a:pt x="4367" y="8113"/>
                  </a:lnTo>
                  <a:lnTo>
                    <a:pt x="4313" y="7402"/>
                  </a:lnTo>
                  <a:lnTo>
                    <a:pt x="4408" y="8108"/>
                  </a:lnTo>
                  <a:close/>
                  <a:moveTo>
                    <a:pt x="4367" y="8113"/>
                  </a:moveTo>
                  <a:lnTo>
                    <a:pt x="4284" y="8121"/>
                  </a:lnTo>
                  <a:lnTo>
                    <a:pt x="4174" y="6698"/>
                  </a:lnTo>
                  <a:lnTo>
                    <a:pt x="4258" y="6691"/>
                  </a:lnTo>
                  <a:lnTo>
                    <a:pt x="4367" y="8113"/>
                  </a:lnTo>
                  <a:close/>
                  <a:moveTo>
                    <a:pt x="4284" y="8121"/>
                  </a:moveTo>
                  <a:lnTo>
                    <a:pt x="4245" y="8121"/>
                  </a:lnTo>
                  <a:lnTo>
                    <a:pt x="4229" y="7409"/>
                  </a:lnTo>
                  <a:lnTo>
                    <a:pt x="4284" y="8121"/>
                  </a:lnTo>
                  <a:close/>
                  <a:moveTo>
                    <a:pt x="4245" y="8121"/>
                  </a:moveTo>
                  <a:lnTo>
                    <a:pt x="4162" y="8123"/>
                  </a:lnTo>
                  <a:lnTo>
                    <a:pt x="4129" y="6700"/>
                  </a:lnTo>
                  <a:lnTo>
                    <a:pt x="4213" y="6698"/>
                  </a:lnTo>
                  <a:lnTo>
                    <a:pt x="4245" y="8121"/>
                  </a:lnTo>
                  <a:close/>
                  <a:moveTo>
                    <a:pt x="4162" y="8123"/>
                  </a:moveTo>
                  <a:lnTo>
                    <a:pt x="4129" y="8123"/>
                  </a:lnTo>
                  <a:lnTo>
                    <a:pt x="4146" y="7411"/>
                  </a:lnTo>
                  <a:lnTo>
                    <a:pt x="4162" y="8123"/>
                  </a:lnTo>
                  <a:close/>
                  <a:moveTo>
                    <a:pt x="4129" y="8123"/>
                  </a:moveTo>
                  <a:lnTo>
                    <a:pt x="4045" y="8121"/>
                  </a:lnTo>
                  <a:lnTo>
                    <a:pt x="4078" y="6698"/>
                  </a:lnTo>
                  <a:lnTo>
                    <a:pt x="4162" y="6700"/>
                  </a:lnTo>
                  <a:lnTo>
                    <a:pt x="4129" y="8123"/>
                  </a:lnTo>
                  <a:close/>
                  <a:moveTo>
                    <a:pt x="4045" y="8121"/>
                  </a:moveTo>
                  <a:lnTo>
                    <a:pt x="4007" y="8121"/>
                  </a:lnTo>
                  <a:lnTo>
                    <a:pt x="4061" y="7409"/>
                  </a:lnTo>
                  <a:lnTo>
                    <a:pt x="4045" y="8121"/>
                  </a:lnTo>
                  <a:close/>
                  <a:moveTo>
                    <a:pt x="4007" y="8121"/>
                  </a:moveTo>
                  <a:lnTo>
                    <a:pt x="3924" y="8113"/>
                  </a:lnTo>
                  <a:lnTo>
                    <a:pt x="4033" y="6691"/>
                  </a:lnTo>
                  <a:lnTo>
                    <a:pt x="4116" y="6698"/>
                  </a:lnTo>
                  <a:lnTo>
                    <a:pt x="4007" y="8121"/>
                  </a:lnTo>
                  <a:close/>
                  <a:moveTo>
                    <a:pt x="3924" y="8113"/>
                  </a:moveTo>
                  <a:lnTo>
                    <a:pt x="3883" y="8108"/>
                  </a:lnTo>
                  <a:lnTo>
                    <a:pt x="3979" y="7402"/>
                  </a:lnTo>
                  <a:lnTo>
                    <a:pt x="3924" y="8113"/>
                  </a:lnTo>
                  <a:close/>
                  <a:moveTo>
                    <a:pt x="3883" y="8108"/>
                  </a:moveTo>
                  <a:lnTo>
                    <a:pt x="3802" y="8097"/>
                  </a:lnTo>
                  <a:lnTo>
                    <a:pt x="3993" y="6685"/>
                  </a:lnTo>
                  <a:lnTo>
                    <a:pt x="4074" y="6697"/>
                  </a:lnTo>
                  <a:lnTo>
                    <a:pt x="3883" y="8108"/>
                  </a:lnTo>
                  <a:close/>
                  <a:moveTo>
                    <a:pt x="3802" y="8097"/>
                  </a:moveTo>
                  <a:lnTo>
                    <a:pt x="3761" y="8088"/>
                  </a:lnTo>
                  <a:lnTo>
                    <a:pt x="3897" y="7391"/>
                  </a:lnTo>
                  <a:lnTo>
                    <a:pt x="3802" y="8097"/>
                  </a:lnTo>
                  <a:close/>
                  <a:moveTo>
                    <a:pt x="3761" y="8088"/>
                  </a:moveTo>
                  <a:lnTo>
                    <a:pt x="3680" y="8072"/>
                  </a:lnTo>
                  <a:lnTo>
                    <a:pt x="3953" y="6677"/>
                  </a:lnTo>
                  <a:lnTo>
                    <a:pt x="4034" y="6693"/>
                  </a:lnTo>
                  <a:lnTo>
                    <a:pt x="3761" y="8088"/>
                  </a:lnTo>
                  <a:close/>
                  <a:moveTo>
                    <a:pt x="3680" y="8072"/>
                  </a:moveTo>
                  <a:lnTo>
                    <a:pt x="3644" y="8063"/>
                  </a:lnTo>
                  <a:lnTo>
                    <a:pt x="3817" y="7374"/>
                  </a:lnTo>
                  <a:lnTo>
                    <a:pt x="3680" y="8072"/>
                  </a:lnTo>
                  <a:close/>
                  <a:moveTo>
                    <a:pt x="3644" y="8063"/>
                  </a:moveTo>
                  <a:lnTo>
                    <a:pt x="3566" y="8043"/>
                  </a:lnTo>
                  <a:lnTo>
                    <a:pt x="3910" y="6665"/>
                  </a:lnTo>
                  <a:lnTo>
                    <a:pt x="3989" y="6685"/>
                  </a:lnTo>
                  <a:lnTo>
                    <a:pt x="3644" y="8063"/>
                  </a:lnTo>
                  <a:close/>
                  <a:moveTo>
                    <a:pt x="3566" y="8043"/>
                  </a:moveTo>
                  <a:lnTo>
                    <a:pt x="3533" y="8034"/>
                  </a:lnTo>
                  <a:lnTo>
                    <a:pt x="3738" y="7353"/>
                  </a:lnTo>
                  <a:lnTo>
                    <a:pt x="3566" y="8043"/>
                  </a:lnTo>
                  <a:close/>
                  <a:moveTo>
                    <a:pt x="3533" y="8034"/>
                  </a:moveTo>
                  <a:lnTo>
                    <a:pt x="3455" y="8009"/>
                  </a:lnTo>
                  <a:lnTo>
                    <a:pt x="3865" y="6648"/>
                  </a:lnTo>
                  <a:lnTo>
                    <a:pt x="3943" y="6673"/>
                  </a:lnTo>
                  <a:lnTo>
                    <a:pt x="3533" y="8034"/>
                  </a:lnTo>
                  <a:close/>
                  <a:moveTo>
                    <a:pt x="3455" y="8009"/>
                  </a:moveTo>
                  <a:lnTo>
                    <a:pt x="3419" y="7999"/>
                  </a:lnTo>
                  <a:lnTo>
                    <a:pt x="3660" y="7329"/>
                  </a:lnTo>
                  <a:lnTo>
                    <a:pt x="3455" y="8009"/>
                  </a:lnTo>
                  <a:close/>
                  <a:moveTo>
                    <a:pt x="3419" y="7999"/>
                  </a:moveTo>
                  <a:lnTo>
                    <a:pt x="3344" y="7971"/>
                  </a:lnTo>
                  <a:lnTo>
                    <a:pt x="3825" y="6631"/>
                  </a:lnTo>
                  <a:lnTo>
                    <a:pt x="3901" y="6660"/>
                  </a:lnTo>
                  <a:lnTo>
                    <a:pt x="3419" y="7999"/>
                  </a:lnTo>
                  <a:close/>
                  <a:moveTo>
                    <a:pt x="3344" y="7971"/>
                  </a:moveTo>
                  <a:lnTo>
                    <a:pt x="3303" y="7953"/>
                  </a:lnTo>
                  <a:lnTo>
                    <a:pt x="3584" y="7300"/>
                  </a:lnTo>
                  <a:lnTo>
                    <a:pt x="3344" y="7971"/>
                  </a:lnTo>
                  <a:close/>
                  <a:moveTo>
                    <a:pt x="3303" y="7953"/>
                  </a:moveTo>
                  <a:lnTo>
                    <a:pt x="3229" y="7921"/>
                  </a:lnTo>
                  <a:lnTo>
                    <a:pt x="3792" y="6615"/>
                  </a:lnTo>
                  <a:lnTo>
                    <a:pt x="3866" y="6648"/>
                  </a:lnTo>
                  <a:lnTo>
                    <a:pt x="3303" y="7953"/>
                  </a:lnTo>
                  <a:close/>
                  <a:moveTo>
                    <a:pt x="3229" y="7921"/>
                  </a:moveTo>
                  <a:lnTo>
                    <a:pt x="3204" y="7909"/>
                  </a:lnTo>
                  <a:lnTo>
                    <a:pt x="3510" y="7268"/>
                  </a:lnTo>
                  <a:lnTo>
                    <a:pt x="3229" y="7921"/>
                  </a:lnTo>
                  <a:close/>
                  <a:moveTo>
                    <a:pt x="3204" y="7909"/>
                  </a:moveTo>
                  <a:lnTo>
                    <a:pt x="3131" y="7873"/>
                  </a:lnTo>
                  <a:lnTo>
                    <a:pt x="3744" y="6590"/>
                  </a:lnTo>
                  <a:lnTo>
                    <a:pt x="3817" y="6626"/>
                  </a:lnTo>
                  <a:lnTo>
                    <a:pt x="3204" y="7909"/>
                  </a:lnTo>
                  <a:close/>
                  <a:moveTo>
                    <a:pt x="3131" y="7873"/>
                  </a:moveTo>
                  <a:lnTo>
                    <a:pt x="3090" y="7848"/>
                  </a:lnTo>
                  <a:lnTo>
                    <a:pt x="3437" y="7231"/>
                  </a:lnTo>
                  <a:lnTo>
                    <a:pt x="3131" y="7873"/>
                  </a:lnTo>
                  <a:close/>
                  <a:moveTo>
                    <a:pt x="3090" y="7848"/>
                  </a:moveTo>
                  <a:lnTo>
                    <a:pt x="3020" y="7806"/>
                  </a:lnTo>
                  <a:lnTo>
                    <a:pt x="3715" y="6574"/>
                  </a:lnTo>
                  <a:lnTo>
                    <a:pt x="3785" y="6615"/>
                  </a:lnTo>
                  <a:lnTo>
                    <a:pt x="3090" y="7848"/>
                  </a:lnTo>
                  <a:close/>
                  <a:moveTo>
                    <a:pt x="3020" y="7806"/>
                  </a:moveTo>
                  <a:lnTo>
                    <a:pt x="2996" y="7793"/>
                  </a:lnTo>
                  <a:lnTo>
                    <a:pt x="3367" y="7190"/>
                  </a:lnTo>
                  <a:lnTo>
                    <a:pt x="3020" y="7806"/>
                  </a:lnTo>
                  <a:close/>
                  <a:moveTo>
                    <a:pt x="2996" y="7793"/>
                  </a:moveTo>
                  <a:lnTo>
                    <a:pt x="2927" y="7748"/>
                  </a:lnTo>
                  <a:lnTo>
                    <a:pt x="3671" y="6543"/>
                  </a:lnTo>
                  <a:lnTo>
                    <a:pt x="3739" y="6587"/>
                  </a:lnTo>
                  <a:lnTo>
                    <a:pt x="2996" y="7793"/>
                  </a:lnTo>
                  <a:close/>
                  <a:moveTo>
                    <a:pt x="2927" y="7748"/>
                  </a:moveTo>
                  <a:lnTo>
                    <a:pt x="2895" y="7727"/>
                  </a:lnTo>
                  <a:lnTo>
                    <a:pt x="3299" y="7146"/>
                  </a:lnTo>
                  <a:lnTo>
                    <a:pt x="2927" y="7748"/>
                  </a:lnTo>
                  <a:close/>
                  <a:moveTo>
                    <a:pt x="2895" y="7727"/>
                  </a:moveTo>
                  <a:lnTo>
                    <a:pt x="2828" y="7679"/>
                  </a:lnTo>
                  <a:lnTo>
                    <a:pt x="3638" y="6518"/>
                  </a:lnTo>
                  <a:lnTo>
                    <a:pt x="3704" y="6566"/>
                  </a:lnTo>
                  <a:lnTo>
                    <a:pt x="2895" y="7727"/>
                  </a:lnTo>
                  <a:close/>
                  <a:moveTo>
                    <a:pt x="2828" y="7679"/>
                  </a:moveTo>
                  <a:lnTo>
                    <a:pt x="2807" y="7661"/>
                  </a:lnTo>
                  <a:lnTo>
                    <a:pt x="3233" y="7098"/>
                  </a:lnTo>
                  <a:lnTo>
                    <a:pt x="2828" y="7679"/>
                  </a:lnTo>
                  <a:close/>
                  <a:moveTo>
                    <a:pt x="2807" y="7661"/>
                  </a:moveTo>
                  <a:lnTo>
                    <a:pt x="2742" y="7610"/>
                  </a:lnTo>
                  <a:lnTo>
                    <a:pt x="3595" y="6484"/>
                  </a:lnTo>
                  <a:lnTo>
                    <a:pt x="3660" y="6535"/>
                  </a:lnTo>
                  <a:lnTo>
                    <a:pt x="2807" y="7661"/>
                  </a:lnTo>
                  <a:close/>
                  <a:moveTo>
                    <a:pt x="2742" y="7610"/>
                  </a:moveTo>
                  <a:lnTo>
                    <a:pt x="2715" y="7588"/>
                  </a:lnTo>
                  <a:lnTo>
                    <a:pt x="3169" y="7047"/>
                  </a:lnTo>
                  <a:lnTo>
                    <a:pt x="2742" y="7610"/>
                  </a:lnTo>
                  <a:close/>
                  <a:moveTo>
                    <a:pt x="2715" y="7588"/>
                  </a:moveTo>
                  <a:lnTo>
                    <a:pt x="2653" y="7535"/>
                  </a:lnTo>
                  <a:lnTo>
                    <a:pt x="3561" y="6452"/>
                  </a:lnTo>
                  <a:lnTo>
                    <a:pt x="3623" y="6505"/>
                  </a:lnTo>
                  <a:lnTo>
                    <a:pt x="2715" y="7588"/>
                  </a:lnTo>
                  <a:close/>
                  <a:moveTo>
                    <a:pt x="2653" y="7535"/>
                  </a:moveTo>
                  <a:lnTo>
                    <a:pt x="2626" y="7509"/>
                  </a:lnTo>
                  <a:lnTo>
                    <a:pt x="3107" y="6993"/>
                  </a:lnTo>
                  <a:lnTo>
                    <a:pt x="2653" y="7535"/>
                  </a:lnTo>
                  <a:close/>
                  <a:moveTo>
                    <a:pt x="2626" y="7509"/>
                  </a:moveTo>
                  <a:lnTo>
                    <a:pt x="2567" y="7451"/>
                  </a:lnTo>
                  <a:lnTo>
                    <a:pt x="3529" y="6420"/>
                  </a:lnTo>
                  <a:lnTo>
                    <a:pt x="3589" y="6477"/>
                  </a:lnTo>
                  <a:lnTo>
                    <a:pt x="2626" y="7509"/>
                  </a:lnTo>
                  <a:close/>
                  <a:moveTo>
                    <a:pt x="2567" y="7451"/>
                  </a:moveTo>
                  <a:lnTo>
                    <a:pt x="2542" y="7427"/>
                  </a:lnTo>
                  <a:lnTo>
                    <a:pt x="3048" y="6935"/>
                  </a:lnTo>
                  <a:lnTo>
                    <a:pt x="2567" y="7451"/>
                  </a:lnTo>
                  <a:close/>
                  <a:moveTo>
                    <a:pt x="2542" y="7427"/>
                  </a:moveTo>
                  <a:lnTo>
                    <a:pt x="2485" y="7366"/>
                  </a:lnTo>
                  <a:lnTo>
                    <a:pt x="3497" y="6384"/>
                  </a:lnTo>
                  <a:lnTo>
                    <a:pt x="3554" y="6444"/>
                  </a:lnTo>
                  <a:lnTo>
                    <a:pt x="2542" y="7427"/>
                  </a:lnTo>
                  <a:close/>
                  <a:moveTo>
                    <a:pt x="2485" y="7366"/>
                  </a:moveTo>
                  <a:lnTo>
                    <a:pt x="2464" y="7341"/>
                  </a:lnTo>
                  <a:lnTo>
                    <a:pt x="2991" y="6875"/>
                  </a:lnTo>
                  <a:lnTo>
                    <a:pt x="2485" y="7366"/>
                  </a:lnTo>
                  <a:close/>
                  <a:moveTo>
                    <a:pt x="2464" y="7341"/>
                  </a:moveTo>
                  <a:lnTo>
                    <a:pt x="2410" y="7277"/>
                  </a:lnTo>
                  <a:lnTo>
                    <a:pt x="3465" y="6345"/>
                  </a:lnTo>
                  <a:lnTo>
                    <a:pt x="3519" y="6409"/>
                  </a:lnTo>
                  <a:lnTo>
                    <a:pt x="2464" y="7341"/>
                  </a:lnTo>
                  <a:close/>
                  <a:moveTo>
                    <a:pt x="2410" y="7277"/>
                  </a:moveTo>
                  <a:lnTo>
                    <a:pt x="2391" y="7254"/>
                  </a:lnTo>
                  <a:lnTo>
                    <a:pt x="2938" y="6812"/>
                  </a:lnTo>
                  <a:lnTo>
                    <a:pt x="2410" y="7277"/>
                  </a:lnTo>
                  <a:close/>
                  <a:moveTo>
                    <a:pt x="2391" y="7254"/>
                  </a:moveTo>
                  <a:lnTo>
                    <a:pt x="2339" y="7188"/>
                  </a:lnTo>
                  <a:lnTo>
                    <a:pt x="3432" y="6301"/>
                  </a:lnTo>
                  <a:lnTo>
                    <a:pt x="3484" y="6368"/>
                  </a:lnTo>
                  <a:lnTo>
                    <a:pt x="2391" y="7254"/>
                  </a:lnTo>
                  <a:close/>
                  <a:moveTo>
                    <a:pt x="2339" y="7188"/>
                  </a:moveTo>
                  <a:lnTo>
                    <a:pt x="2314" y="7154"/>
                  </a:lnTo>
                  <a:lnTo>
                    <a:pt x="2886" y="6744"/>
                  </a:lnTo>
                  <a:lnTo>
                    <a:pt x="2339" y="7188"/>
                  </a:lnTo>
                  <a:close/>
                  <a:moveTo>
                    <a:pt x="2314" y="7154"/>
                  </a:moveTo>
                  <a:lnTo>
                    <a:pt x="2266" y="7085"/>
                  </a:lnTo>
                  <a:lnTo>
                    <a:pt x="3409" y="6265"/>
                  </a:lnTo>
                  <a:lnTo>
                    <a:pt x="3457" y="6335"/>
                  </a:lnTo>
                  <a:lnTo>
                    <a:pt x="2314" y="7154"/>
                  </a:lnTo>
                  <a:close/>
                  <a:moveTo>
                    <a:pt x="2266" y="7085"/>
                  </a:moveTo>
                  <a:lnTo>
                    <a:pt x="2255" y="7066"/>
                  </a:lnTo>
                  <a:lnTo>
                    <a:pt x="2838" y="6675"/>
                  </a:lnTo>
                  <a:lnTo>
                    <a:pt x="2266" y="7085"/>
                  </a:lnTo>
                  <a:close/>
                  <a:moveTo>
                    <a:pt x="2255" y="7066"/>
                  </a:moveTo>
                  <a:lnTo>
                    <a:pt x="2209" y="6994"/>
                  </a:lnTo>
                  <a:lnTo>
                    <a:pt x="3374" y="6213"/>
                  </a:lnTo>
                  <a:lnTo>
                    <a:pt x="3420" y="6285"/>
                  </a:lnTo>
                  <a:lnTo>
                    <a:pt x="2255" y="7066"/>
                  </a:lnTo>
                  <a:close/>
                  <a:moveTo>
                    <a:pt x="2209" y="6994"/>
                  </a:moveTo>
                  <a:lnTo>
                    <a:pt x="2187" y="6961"/>
                  </a:lnTo>
                  <a:lnTo>
                    <a:pt x="2792" y="6603"/>
                  </a:lnTo>
                  <a:lnTo>
                    <a:pt x="2209" y="6994"/>
                  </a:lnTo>
                  <a:close/>
                  <a:moveTo>
                    <a:pt x="2187" y="6961"/>
                  </a:moveTo>
                  <a:lnTo>
                    <a:pt x="2145" y="6886"/>
                  </a:lnTo>
                  <a:lnTo>
                    <a:pt x="3354" y="6172"/>
                  </a:lnTo>
                  <a:lnTo>
                    <a:pt x="3396" y="6246"/>
                  </a:lnTo>
                  <a:lnTo>
                    <a:pt x="2187" y="6961"/>
                  </a:lnTo>
                  <a:close/>
                  <a:moveTo>
                    <a:pt x="2145" y="6886"/>
                  </a:moveTo>
                  <a:lnTo>
                    <a:pt x="2129" y="6855"/>
                  </a:lnTo>
                  <a:lnTo>
                    <a:pt x="2749" y="6529"/>
                  </a:lnTo>
                  <a:lnTo>
                    <a:pt x="2145" y="6886"/>
                  </a:lnTo>
                  <a:close/>
                  <a:moveTo>
                    <a:pt x="2129" y="6855"/>
                  </a:moveTo>
                  <a:lnTo>
                    <a:pt x="2089" y="6778"/>
                  </a:lnTo>
                  <a:lnTo>
                    <a:pt x="3331" y="6126"/>
                  </a:lnTo>
                  <a:lnTo>
                    <a:pt x="3370" y="6202"/>
                  </a:lnTo>
                  <a:lnTo>
                    <a:pt x="2129" y="6855"/>
                  </a:lnTo>
                  <a:close/>
                  <a:moveTo>
                    <a:pt x="2089" y="6778"/>
                  </a:moveTo>
                  <a:lnTo>
                    <a:pt x="2076" y="6750"/>
                  </a:lnTo>
                  <a:lnTo>
                    <a:pt x="2710" y="6451"/>
                  </a:lnTo>
                  <a:lnTo>
                    <a:pt x="2089" y="6778"/>
                  </a:lnTo>
                  <a:close/>
                  <a:moveTo>
                    <a:pt x="2076" y="6750"/>
                  </a:moveTo>
                  <a:lnTo>
                    <a:pt x="2040" y="6672"/>
                  </a:lnTo>
                  <a:lnTo>
                    <a:pt x="3309" y="6075"/>
                  </a:lnTo>
                  <a:lnTo>
                    <a:pt x="3344" y="6153"/>
                  </a:lnTo>
                  <a:lnTo>
                    <a:pt x="2076" y="6750"/>
                  </a:lnTo>
                  <a:close/>
                  <a:moveTo>
                    <a:pt x="2040" y="6672"/>
                  </a:moveTo>
                  <a:lnTo>
                    <a:pt x="2029" y="6644"/>
                  </a:lnTo>
                  <a:lnTo>
                    <a:pt x="2675" y="6374"/>
                  </a:lnTo>
                  <a:lnTo>
                    <a:pt x="2040" y="6672"/>
                  </a:lnTo>
                  <a:close/>
                  <a:moveTo>
                    <a:pt x="2029" y="6644"/>
                  </a:moveTo>
                  <a:lnTo>
                    <a:pt x="1997" y="6563"/>
                  </a:lnTo>
                  <a:lnTo>
                    <a:pt x="3287" y="6022"/>
                  </a:lnTo>
                  <a:lnTo>
                    <a:pt x="3320" y="6103"/>
                  </a:lnTo>
                  <a:lnTo>
                    <a:pt x="2029" y="6644"/>
                  </a:lnTo>
                  <a:close/>
                  <a:moveTo>
                    <a:pt x="1997" y="6563"/>
                  </a:moveTo>
                  <a:lnTo>
                    <a:pt x="1986" y="6535"/>
                  </a:lnTo>
                  <a:lnTo>
                    <a:pt x="2642" y="6292"/>
                  </a:lnTo>
                  <a:lnTo>
                    <a:pt x="1997" y="6563"/>
                  </a:lnTo>
                  <a:close/>
                  <a:moveTo>
                    <a:pt x="1986" y="6535"/>
                  </a:moveTo>
                  <a:lnTo>
                    <a:pt x="1956" y="6451"/>
                  </a:lnTo>
                  <a:lnTo>
                    <a:pt x="3268" y="5967"/>
                  </a:lnTo>
                  <a:lnTo>
                    <a:pt x="3298" y="6049"/>
                  </a:lnTo>
                  <a:lnTo>
                    <a:pt x="1986" y="6535"/>
                  </a:lnTo>
                  <a:close/>
                  <a:moveTo>
                    <a:pt x="1956" y="6451"/>
                  </a:moveTo>
                  <a:lnTo>
                    <a:pt x="1945" y="6421"/>
                  </a:lnTo>
                  <a:lnTo>
                    <a:pt x="2612" y="6210"/>
                  </a:lnTo>
                  <a:lnTo>
                    <a:pt x="1956" y="6451"/>
                  </a:lnTo>
                  <a:close/>
                  <a:moveTo>
                    <a:pt x="1945" y="6421"/>
                  </a:moveTo>
                  <a:lnTo>
                    <a:pt x="1919" y="6336"/>
                  </a:lnTo>
                  <a:lnTo>
                    <a:pt x="3253" y="5912"/>
                  </a:lnTo>
                  <a:lnTo>
                    <a:pt x="3279" y="5997"/>
                  </a:lnTo>
                  <a:lnTo>
                    <a:pt x="1945" y="6421"/>
                  </a:lnTo>
                  <a:close/>
                  <a:moveTo>
                    <a:pt x="1919" y="6336"/>
                  </a:moveTo>
                  <a:lnTo>
                    <a:pt x="1911" y="6299"/>
                  </a:lnTo>
                  <a:lnTo>
                    <a:pt x="2586" y="6124"/>
                  </a:lnTo>
                  <a:lnTo>
                    <a:pt x="1919" y="6336"/>
                  </a:lnTo>
                  <a:close/>
                  <a:moveTo>
                    <a:pt x="1911" y="6299"/>
                  </a:moveTo>
                  <a:lnTo>
                    <a:pt x="1889" y="6213"/>
                  </a:lnTo>
                  <a:lnTo>
                    <a:pt x="3240" y="5861"/>
                  </a:lnTo>
                  <a:lnTo>
                    <a:pt x="3261" y="5948"/>
                  </a:lnTo>
                  <a:lnTo>
                    <a:pt x="1911" y="6299"/>
                  </a:lnTo>
                  <a:close/>
                  <a:moveTo>
                    <a:pt x="1889" y="6213"/>
                  </a:moveTo>
                  <a:lnTo>
                    <a:pt x="1878" y="6176"/>
                  </a:lnTo>
                  <a:lnTo>
                    <a:pt x="2564" y="6037"/>
                  </a:lnTo>
                  <a:lnTo>
                    <a:pt x="1889" y="6213"/>
                  </a:lnTo>
                  <a:close/>
                  <a:moveTo>
                    <a:pt x="1878" y="6176"/>
                  </a:moveTo>
                  <a:lnTo>
                    <a:pt x="1861" y="6087"/>
                  </a:lnTo>
                  <a:lnTo>
                    <a:pt x="3233" y="5809"/>
                  </a:lnTo>
                  <a:lnTo>
                    <a:pt x="3250" y="5897"/>
                  </a:lnTo>
                  <a:lnTo>
                    <a:pt x="1878" y="6176"/>
                  </a:lnTo>
                  <a:close/>
                  <a:moveTo>
                    <a:pt x="1861" y="6087"/>
                  </a:moveTo>
                  <a:lnTo>
                    <a:pt x="1858" y="6062"/>
                  </a:lnTo>
                  <a:lnTo>
                    <a:pt x="2547" y="5947"/>
                  </a:lnTo>
                  <a:lnTo>
                    <a:pt x="1861" y="6087"/>
                  </a:lnTo>
                  <a:close/>
                  <a:moveTo>
                    <a:pt x="1858" y="6062"/>
                  </a:moveTo>
                  <a:lnTo>
                    <a:pt x="1843" y="5972"/>
                  </a:lnTo>
                  <a:lnTo>
                    <a:pt x="3221" y="5743"/>
                  </a:lnTo>
                  <a:lnTo>
                    <a:pt x="3236" y="5833"/>
                  </a:lnTo>
                  <a:lnTo>
                    <a:pt x="1858" y="6062"/>
                  </a:lnTo>
                  <a:close/>
                  <a:moveTo>
                    <a:pt x="1843" y="5972"/>
                  </a:moveTo>
                  <a:lnTo>
                    <a:pt x="1838" y="5938"/>
                  </a:lnTo>
                  <a:lnTo>
                    <a:pt x="2532" y="5858"/>
                  </a:lnTo>
                  <a:lnTo>
                    <a:pt x="1843" y="5972"/>
                  </a:lnTo>
                  <a:close/>
                  <a:moveTo>
                    <a:pt x="1838" y="5938"/>
                  </a:moveTo>
                  <a:lnTo>
                    <a:pt x="1828" y="5847"/>
                  </a:lnTo>
                  <a:lnTo>
                    <a:pt x="3216" y="5686"/>
                  </a:lnTo>
                  <a:lnTo>
                    <a:pt x="3227" y="5777"/>
                  </a:lnTo>
                  <a:lnTo>
                    <a:pt x="1838" y="5938"/>
                  </a:lnTo>
                  <a:close/>
                  <a:moveTo>
                    <a:pt x="1828" y="5847"/>
                  </a:moveTo>
                  <a:lnTo>
                    <a:pt x="1825" y="5817"/>
                  </a:lnTo>
                  <a:lnTo>
                    <a:pt x="2522" y="5767"/>
                  </a:lnTo>
                  <a:lnTo>
                    <a:pt x="1828" y="5847"/>
                  </a:lnTo>
                  <a:close/>
                  <a:moveTo>
                    <a:pt x="1825" y="5817"/>
                  </a:moveTo>
                  <a:lnTo>
                    <a:pt x="1818" y="5724"/>
                  </a:lnTo>
                  <a:lnTo>
                    <a:pt x="3212" y="5623"/>
                  </a:lnTo>
                  <a:lnTo>
                    <a:pt x="3219" y="5717"/>
                  </a:lnTo>
                  <a:lnTo>
                    <a:pt x="1825" y="5817"/>
                  </a:lnTo>
                  <a:close/>
                  <a:moveTo>
                    <a:pt x="1818" y="5724"/>
                  </a:moveTo>
                  <a:lnTo>
                    <a:pt x="1818" y="5687"/>
                  </a:lnTo>
                  <a:lnTo>
                    <a:pt x="2515" y="5673"/>
                  </a:lnTo>
                  <a:lnTo>
                    <a:pt x="1818" y="5724"/>
                  </a:lnTo>
                  <a:close/>
                  <a:moveTo>
                    <a:pt x="1818" y="5687"/>
                  </a:moveTo>
                  <a:lnTo>
                    <a:pt x="1816" y="5592"/>
                  </a:lnTo>
                  <a:lnTo>
                    <a:pt x="3211" y="5565"/>
                  </a:lnTo>
                  <a:lnTo>
                    <a:pt x="3212" y="5660"/>
                  </a:lnTo>
                  <a:lnTo>
                    <a:pt x="1818" y="5687"/>
                  </a:lnTo>
                  <a:close/>
                  <a:moveTo>
                    <a:pt x="1816" y="5592"/>
                  </a:moveTo>
                  <a:lnTo>
                    <a:pt x="1816" y="5565"/>
                  </a:lnTo>
                  <a:lnTo>
                    <a:pt x="2513" y="5578"/>
                  </a:lnTo>
                  <a:lnTo>
                    <a:pt x="1816" y="5592"/>
                  </a:lnTo>
                  <a:close/>
                  <a:moveTo>
                    <a:pt x="1816" y="5565"/>
                  </a:moveTo>
                  <a:lnTo>
                    <a:pt x="1818" y="5471"/>
                  </a:lnTo>
                  <a:lnTo>
                    <a:pt x="3212" y="5498"/>
                  </a:lnTo>
                  <a:lnTo>
                    <a:pt x="3211" y="5592"/>
                  </a:lnTo>
                  <a:lnTo>
                    <a:pt x="1816" y="5565"/>
                  </a:lnTo>
                  <a:close/>
                  <a:moveTo>
                    <a:pt x="1818" y="5471"/>
                  </a:moveTo>
                  <a:lnTo>
                    <a:pt x="1818" y="5434"/>
                  </a:lnTo>
                  <a:lnTo>
                    <a:pt x="2515" y="5484"/>
                  </a:lnTo>
                  <a:lnTo>
                    <a:pt x="1818" y="5471"/>
                  </a:lnTo>
                  <a:close/>
                  <a:moveTo>
                    <a:pt x="1818" y="5434"/>
                  </a:moveTo>
                  <a:lnTo>
                    <a:pt x="1825" y="5341"/>
                  </a:lnTo>
                  <a:lnTo>
                    <a:pt x="3219" y="5441"/>
                  </a:lnTo>
                  <a:lnTo>
                    <a:pt x="3212" y="5535"/>
                  </a:lnTo>
                  <a:lnTo>
                    <a:pt x="1818" y="5434"/>
                  </a:lnTo>
                  <a:close/>
                  <a:moveTo>
                    <a:pt x="1825" y="5341"/>
                  </a:moveTo>
                  <a:lnTo>
                    <a:pt x="1828" y="5311"/>
                  </a:lnTo>
                  <a:lnTo>
                    <a:pt x="2522" y="5391"/>
                  </a:lnTo>
                  <a:lnTo>
                    <a:pt x="1825" y="5341"/>
                  </a:lnTo>
                  <a:close/>
                  <a:moveTo>
                    <a:pt x="1828" y="5311"/>
                  </a:moveTo>
                  <a:lnTo>
                    <a:pt x="1838" y="5219"/>
                  </a:lnTo>
                  <a:lnTo>
                    <a:pt x="3227" y="5380"/>
                  </a:lnTo>
                  <a:lnTo>
                    <a:pt x="3216" y="5472"/>
                  </a:lnTo>
                  <a:lnTo>
                    <a:pt x="1828" y="5311"/>
                  </a:lnTo>
                  <a:close/>
                  <a:moveTo>
                    <a:pt x="1838" y="5219"/>
                  </a:moveTo>
                  <a:lnTo>
                    <a:pt x="1843" y="5185"/>
                  </a:lnTo>
                  <a:lnTo>
                    <a:pt x="2532" y="5299"/>
                  </a:lnTo>
                  <a:lnTo>
                    <a:pt x="1838" y="5219"/>
                  </a:lnTo>
                  <a:close/>
                  <a:moveTo>
                    <a:pt x="1843" y="5185"/>
                  </a:moveTo>
                  <a:lnTo>
                    <a:pt x="1858" y="5095"/>
                  </a:lnTo>
                  <a:lnTo>
                    <a:pt x="3236" y="5324"/>
                  </a:lnTo>
                  <a:lnTo>
                    <a:pt x="3221" y="5414"/>
                  </a:lnTo>
                  <a:lnTo>
                    <a:pt x="1843" y="5185"/>
                  </a:lnTo>
                  <a:close/>
                  <a:moveTo>
                    <a:pt x="1858" y="5095"/>
                  </a:moveTo>
                  <a:lnTo>
                    <a:pt x="1863" y="5070"/>
                  </a:lnTo>
                  <a:lnTo>
                    <a:pt x="2547" y="5210"/>
                  </a:lnTo>
                  <a:lnTo>
                    <a:pt x="1858" y="5095"/>
                  </a:lnTo>
                  <a:close/>
                  <a:moveTo>
                    <a:pt x="1863" y="5070"/>
                  </a:moveTo>
                  <a:lnTo>
                    <a:pt x="1881" y="4982"/>
                  </a:lnTo>
                  <a:lnTo>
                    <a:pt x="3248" y="5261"/>
                  </a:lnTo>
                  <a:lnTo>
                    <a:pt x="3230" y="5348"/>
                  </a:lnTo>
                  <a:lnTo>
                    <a:pt x="1863" y="5070"/>
                  </a:lnTo>
                  <a:close/>
                  <a:moveTo>
                    <a:pt x="1881" y="4982"/>
                  </a:moveTo>
                  <a:lnTo>
                    <a:pt x="1889" y="4945"/>
                  </a:lnTo>
                  <a:lnTo>
                    <a:pt x="2564" y="5121"/>
                  </a:lnTo>
                  <a:lnTo>
                    <a:pt x="1881" y="4982"/>
                  </a:lnTo>
                  <a:close/>
                  <a:moveTo>
                    <a:pt x="1889" y="4945"/>
                  </a:moveTo>
                  <a:lnTo>
                    <a:pt x="1911" y="4859"/>
                  </a:lnTo>
                  <a:lnTo>
                    <a:pt x="3261" y="5210"/>
                  </a:lnTo>
                  <a:lnTo>
                    <a:pt x="3240" y="5297"/>
                  </a:lnTo>
                  <a:lnTo>
                    <a:pt x="1889" y="4945"/>
                  </a:lnTo>
                  <a:close/>
                  <a:moveTo>
                    <a:pt x="1911" y="4859"/>
                  </a:moveTo>
                  <a:lnTo>
                    <a:pt x="1919" y="4822"/>
                  </a:lnTo>
                  <a:lnTo>
                    <a:pt x="2586" y="5034"/>
                  </a:lnTo>
                  <a:lnTo>
                    <a:pt x="1911" y="4859"/>
                  </a:lnTo>
                  <a:close/>
                  <a:moveTo>
                    <a:pt x="1919" y="4822"/>
                  </a:moveTo>
                  <a:lnTo>
                    <a:pt x="1945" y="4737"/>
                  </a:lnTo>
                  <a:lnTo>
                    <a:pt x="3279" y="5161"/>
                  </a:lnTo>
                  <a:lnTo>
                    <a:pt x="3253" y="5246"/>
                  </a:lnTo>
                  <a:lnTo>
                    <a:pt x="1919" y="4822"/>
                  </a:lnTo>
                  <a:close/>
                  <a:moveTo>
                    <a:pt x="1945" y="4737"/>
                  </a:moveTo>
                  <a:lnTo>
                    <a:pt x="1956" y="4706"/>
                  </a:lnTo>
                  <a:lnTo>
                    <a:pt x="2612" y="4949"/>
                  </a:lnTo>
                  <a:lnTo>
                    <a:pt x="1945" y="4737"/>
                  </a:lnTo>
                  <a:close/>
                  <a:moveTo>
                    <a:pt x="1956" y="4706"/>
                  </a:moveTo>
                  <a:lnTo>
                    <a:pt x="1986" y="4623"/>
                  </a:lnTo>
                  <a:lnTo>
                    <a:pt x="3298" y="5109"/>
                  </a:lnTo>
                  <a:lnTo>
                    <a:pt x="3268" y="5191"/>
                  </a:lnTo>
                  <a:lnTo>
                    <a:pt x="1956" y="4706"/>
                  </a:lnTo>
                  <a:close/>
                  <a:moveTo>
                    <a:pt x="1986" y="4623"/>
                  </a:moveTo>
                  <a:lnTo>
                    <a:pt x="1997" y="4595"/>
                  </a:lnTo>
                  <a:lnTo>
                    <a:pt x="2642" y="4866"/>
                  </a:lnTo>
                  <a:lnTo>
                    <a:pt x="1986" y="4623"/>
                  </a:lnTo>
                  <a:close/>
                  <a:moveTo>
                    <a:pt x="1997" y="4595"/>
                  </a:moveTo>
                  <a:lnTo>
                    <a:pt x="2029" y="4514"/>
                  </a:lnTo>
                  <a:lnTo>
                    <a:pt x="3320" y="5055"/>
                  </a:lnTo>
                  <a:lnTo>
                    <a:pt x="3287" y="5136"/>
                  </a:lnTo>
                  <a:lnTo>
                    <a:pt x="1997" y="4595"/>
                  </a:lnTo>
                  <a:close/>
                  <a:moveTo>
                    <a:pt x="2029" y="4514"/>
                  </a:moveTo>
                  <a:lnTo>
                    <a:pt x="2040" y="4488"/>
                  </a:lnTo>
                  <a:lnTo>
                    <a:pt x="2675" y="4784"/>
                  </a:lnTo>
                  <a:lnTo>
                    <a:pt x="2029" y="4514"/>
                  </a:lnTo>
                  <a:close/>
                  <a:moveTo>
                    <a:pt x="2040" y="4488"/>
                  </a:moveTo>
                  <a:lnTo>
                    <a:pt x="2076" y="4410"/>
                  </a:lnTo>
                  <a:lnTo>
                    <a:pt x="3344" y="5001"/>
                  </a:lnTo>
                  <a:lnTo>
                    <a:pt x="3309" y="5080"/>
                  </a:lnTo>
                  <a:lnTo>
                    <a:pt x="2040" y="4488"/>
                  </a:lnTo>
                  <a:close/>
                  <a:moveTo>
                    <a:pt x="2076" y="4410"/>
                  </a:moveTo>
                  <a:lnTo>
                    <a:pt x="2092" y="4373"/>
                  </a:lnTo>
                  <a:lnTo>
                    <a:pt x="2710" y="4705"/>
                  </a:lnTo>
                  <a:lnTo>
                    <a:pt x="2076" y="4410"/>
                  </a:lnTo>
                  <a:close/>
                  <a:moveTo>
                    <a:pt x="2092" y="4373"/>
                  </a:moveTo>
                  <a:lnTo>
                    <a:pt x="2131" y="4297"/>
                  </a:lnTo>
                  <a:lnTo>
                    <a:pt x="3367" y="4961"/>
                  </a:lnTo>
                  <a:lnTo>
                    <a:pt x="3328" y="5037"/>
                  </a:lnTo>
                  <a:lnTo>
                    <a:pt x="2092" y="4373"/>
                  </a:lnTo>
                  <a:close/>
                  <a:moveTo>
                    <a:pt x="2131" y="4297"/>
                  </a:moveTo>
                  <a:lnTo>
                    <a:pt x="2145" y="4272"/>
                  </a:lnTo>
                  <a:lnTo>
                    <a:pt x="2749" y="4629"/>
                  </a:lnTo>
                  <a:lnTo>
                    <a:pt x="2131" y="4297"/>
                  </a:lnTo>
                  <a:close/>
                  <a:moveTo>
                    <a:pt x="2145" y="4272"/>
                  </a:moveTo>
                  <a:lnTo>
                    <a:pt x="2187" y="4198"/>
                  </a:lnTo>
                  <a:lnTo>
                    <a:pt x="3396" y="4912"/>
                  </a:lnTo>
                  <a:lnTo>
                    <a:pt x="3354" y="4986"/>
                  </a:lnTo>
                  <a:lnTo>
                    <a:pt x="2145" y="4272"/>
                  </a:lnTo>
                  <a:close/>
                  <a:moveTo>
                    <a:pt x="2187" y="4198"/>
                  </a:moveTo>
                  <a:lnTo>
                    <a:pt x="2207" y="4167"/>
                  </a:lnTo>
                  <a:lnTo>
                    <a:pt x="2792" y="4555"/>
                  </a:lnTo>
                  <a:lnTo>
                    <a:pt x="2187" y="4198"/>
                  </a:lnTo>
                  <a:close/>
                  <a:moveTo>
                    <a:pt x="2207" y="4167"/>
                  </a:moveTo>
                  <a:lnTo>
                    <a:pt x="2253" y="4095"/>
                  </a:lnTo>
                  <a:lnTo>
                    <a:pt x="3423" y="4870"/>
                  </a:lnTo>
                  <a:lnTo>
                    <a:pt x="3377" y="4942"/>
                  </a:lnTo>
                  <a:lnTo>
                    <a:pt x="2207" y="4167"/>
                  </a:lnTo>
                  <a:close/>
                  <a:moveTo>
                    <a:pt x="2253" y="4095"/>
                  </a:moveTo>
                  <a:lnTo>
                    <a:pt x="2269" y="4069"/>
                  </a:lnTo>
                  <a:lnTo>
                    <a:pt x="2838" y="4482"/>
                  </a:lnTo>
                  <a:lnTo>
                    <a:pt x="2253" y="4095"/>
                  </a:lnTo>
                  <a:close/>
                  <a:moveTo>
                    <a:pt x="2269" y="4069"/>
                  </a:moveTo>
                  <a:lnTo>
                    <a:pt x="2317" y="4001"/>
                  </a:lnTo>
                  <a:lnTo>
                    <a:pt x="3454" y="4826"/>
                  </a:lnTo>
                  <a:lnTo>
                    <a:pt x="3406" y="4894"/>
                  </a:lnTo>
                  <a:lnTo>
                    <a:pt x="2269" y="4069"/>
                  </a:lnTo>
                  <a:close/>
                  <a:moveTo>
                    <a:pt x="2317" y="4001"/>
                  </a:moveTo>
                  <a:lnTo>
                    <a:pt x="2339" y="3970"/>
                  </a:lnTo>
                  <a:lnTo>
                    <a:pt x="2886" y="4414"/>
                  </a:lnTo>
                  <a:lnTo>
                    <a:pt x="2317" y="4001"/>
                  </a:lnTo>
                  <a:close/>
                  <a:moveTo>
                    <a:pt x="2339" y="3970"/>
                  </a:moveTo>
                  <a:lnTo>
                    <a:pt x="2391" y="3904"/>
                  </a:lnTo>
                  <a:lnTo>
                    <a:pt x="3484" y="4790"/>
                  </a:lnTo>
                  <a:lnTo>
                    <a:pt x="3432" y="4857"/>
                  </a:lnTo>
                  <a:lnTo>
                    <a:pt x="2339" y="3970"/>
                  </a:lnTo>
                  <a:close/>
                  <a:moveTo>
                    <a:pt x="2391" y="3904"/>
                  </a:moveTo>
                  <a:lnTo>
                    <a:pt x="2407" y="3883"/>
                  </a:lnTo>
                  <a:lnTo>
                    <a:pt x="2938" y="4347"/>
                  </a:lnTo>
                  <a:lnTo>
                    <a:pt x="2391" y="3904"/>
                  </a:lnTo>
                  <a:close/>
                  <a:moveTo>
                    <a:pt x="2407" y="3883"/>
                  </a:moveTo>
                  <a:lnTo>
                    <a:pt x="2461" y="3820"/>
                  </a:lnTo>
                  <a:lnTo>
                    <a:pt x="3522" y="4746"/>
                  </a:lnTo>
                  <a:lnTo>
                    <a:pt x="3468" y="4810"/>
                  </a:lnTo>
                  <a:lnTo>
                    <a:pt x="2407" y="3883"/>
                  </a:lnTo>
                  <a:close/>
                  <a:moveTo>
                    <a:pt x="2461" y="3820"/>
                  </a:moveTo>
                  <a:lnTo>
                    <a:pt x="2485" y="3793"/>
                  </a:lnTo>
                  <a:lnTo>
                    <a:pt x="2991" y="4283"/>
                  </a:lnTo>
                  <a:lnTo>
                    <a:pt x="2461" y="3820"/>
                  </a:lnTo>
                  <a:close/>
                  <a:moveTo>
                    <a:pt x="2485" y="3793"/>
                  </a:moveTo>
                  <a:lnTo>
                    <a:pt x="2542" y="3731"/>
                  </a:lnTo>
                  <a:lnTo>
                    <a:pt x="3554" y="4714"/>
                  </a:lnTo>
                  <a:lnTo>
                    <a:pt x="3497" y="4774"/>
                  </a:lnTo>
                  <a:lnTo>
                    <a:pt x="2485" y="3793"/>
                  </a:lnTo>
                  <a:close/>
                  <a:moveTo>
                    <a:pt x="2542" y="3731"/>
                  </a:moveTo>
                  <a:lnTo>
                    <a:pt x="2567" y="3707"/>
                  </a:lnTo>
                  <a:lnTo>
                    <a:pt x="3048" y="4222"/>
                  </a:lnTo>
                  <a:lnTo>
                    <a:pt x="2542" y="3731"/>
                  </a:lnTo>
                  <a:close/>
                  <a:moveTo>
                    <a:pt x="2567" y="3707"/>
                  </a:moveTo>
                  <a:lnTo>
                    <a:pt x="2626" y="3649"/>
                  </a:lnTo>
                  <a:lnTo>
                    <a:pt x="3589" y="4681"/>
                  </a:lnTo>
                  <a:lnTo>
                    <a:pt x="3529" y="4738"/>
                  </a:lnTo>
                  <a:lnTo>
                    <a:pt x="2567" y="3707"/>
                  </a:lnTo>
                  <a:close/>
                  <a:moveTo>
                    <a:pt x="2626" y="3649"/>
                  </a:moveTo>
                  <a:lnTo>
                    <a:pt x="2648" y="3629"/>
                  </a:lnTo>
                  <a:lnTo>
                    <a:pt x="3107" y="4165"/>
                  </a:lnTo>
                  <a:lnTo>
                    <a:pt x="2626" y="3649"/>
                  </a:lnTo>
                  <a:close/>
                  <a:moveTo>
                    <a:pt x="2648" y="3629"/>
                  </a:moveTo>
                  <a:lnTo>
                    <a:pt x="2709" y="3574"/>
                  </a:lnTo>
                  <a:lnTo>
                    <a:pt x="3628" y="4645"/>
                  </a:lnTo>
                  <a:lnTo>
                    <a:pt x="3567" y="4701"/>
                  </a:lnTo>
                  <a:lnTo>
                    <a:pt x="2648" y="3629"/>
                  </a:lnTo>
                  <a:close/>
                  <a:moveTo>
                    <a:pt x="2709" y="3574"/>
                  </a:moveTo>
                  <a:lnTo>
                    <a:pt x="2742" y="3547"/>
                  </a:lnTo>
                  <a:lnTo>
                    <a:pt x="3169" y="4110"/>
                  </a:lnTo>
                  <a:lnTo>
                    <a:pt x="2709" y="3574"/>
                  </a:lnTo>
                  <a:close/>
                  <a:moveTo>
                    <a:pt x="2742" y="3547"/>
                  </a:moveTo>
                  <a:lnTo>
                    <a:pt x="2807" y="3496"/>
                  </a:lnTo>
                  <a:lnTo>
                    <a:pt x="3660" y="4622"/>
                  </a:lnTo>
                  <a:lnTo>
                    <a:pt x="3595" y="4673"/>
                  </a:lnTo>
                  <a:lnTo>
                    <a:pt x="2742" y="3547"/>
                  </a:lnTo>
                  <a:close/>
                  <a:moveTo>
                    <a:pt x="2807" y="3496"/>
                  </a:moveTo>
                  <a:lnTo>
                    <a:pt x="2828" y="3478"/>
                  </a:lnTo>
                  <a:lnTo>
                    <a:pt x="3233" y="4059"/>
                  </a:lnTo>
                  <a:lnTo>
                    <a:pt x="2807" y="3496"/>
                  </a:lnTo>
                  <a:close/>
                  <a:moveTo>
                    <a:pt x="2828" y="3478"/>
                  </a:moveTo>
                  <a:lnTo>
                    <a:pt x="2895" y="3430"/>
                  </a:lnTo>
                  <a:lnTo>
                    <a:pt x="3704" y="4591"/>
                  </a:lnTo>
                  <a:lnTo>
                    <a:pt x="3638" y="4639"/>
                  </a:lnTo>
                  <a:lnTo>
                    <a:pt x="2828" y="3478"/>
                  </a:lnTo>
                  <a:close/>
                  <a:moveTo>
                    <a:pt x="2895" y="3430"/>
                  </a:moveTo>
                  <a:lnTo>
                    <a:pt x="2927" y="3409"/>
                  </a:lnTo>
                  <a:lnTo>
                    <a:pt x="3299" y="4011"/>
                  </a:lnTo>
                  <a:lnTo>
                    <a:pt x="2895" y="3430"/>
                  </a:lnTo>
                  <a:close/>
                  <a:moveTo>
                    <a:pt x="2927" y="3409"/>
                  </a:moveTo>
                  <a:lnTo>
                    <a:pt x="2996" y="3364"/>
                  </a:lnTo>
                  <a:lnTo>
                    <a:pt x="3739" y="4569"/>
                  </a:lnTo>
                  <a:lnTo>
                    <a:pt x="3671" y="4614"/>
                  </a:lnTo>
                  <a:lnTo>
                    <a:pt x="2927" y="3409"/>
                  </a:lnTo>
                  <a:close/>
                  <a:moveTo>
                    <a:pt x="2996" y="3364"/>
                  </a:moveTo>
                  <a:lnTo>
                    <a:pt x="3026" y="3345"/>
                  </a:lnTo>
                  <a:lnTo>
                    <a:pt x="3367" y="3967"/>
                  </a:lnTo>
                  <a:lnTo>
                    <a:pt x="2996" y="3364"/>
                  </a:lnTo>
                  <a:close/>
                  <a:moveTo>
                    <a:pt x="3026" y="3345"/>
                  </a:moveTo>
                  <a:lnTo>
                    <a:pt x="3096" y="3305"/>
                  </a:lnTo>
                  <a:lnTo>
                    <a:pt x="3779" y="4549"/>
                  </a:lnTo>
                  <a:lnTo>
                    <a:pt x="3709" y="4589"/>
                  </a:lnTo>
                  <a:lnTo>
                    <a:pt x="3026" y="3345"/>
                  </a:lnTo>
                  <a:close/>
                  <a:moveTo>
                    <a:pt x="3096" y="3305"/>
                  </a:moveTo>
                  <a:lnTo>
                    <a:pt x="3126" y="3287"/>
                  </a:lnTo>
                  <a:lnTo>
                    <a:pt x="3437" y="3926"/>
                  </a:lnTo>
                  <a:lnTo>
                    <a:pt x="3096" y="3305"/>
                  </a:lnTo>
                  <a:close/>
                  <a:moveTo>
                    <a:pt x="3126" y="3287"/>
                  </a:moveTo>
                  <a:lnTo>
                    <a:pt x="3199" y="3251"/>
                  </a:lnTo>
                  <a:lnTo>
                    <a:pt x="3822" y="4528"/>
                  </a:lnTo>
                  <a:lnTo>
                    <a:pt x="3749" y="4566"/>
                  </a:lnTo>
                  <a:lnTo>
                    <a:pt x="3126" y="3287"/>
                  </a:lnTo>
                  <a:close/>
                  <a:moveTo>
                    <a:pt x="3199" y="3251"/>
                  </a:moveTo>
                  <a:lnTo>
                    <a:pt x="3237" y="3234"/>
                  </a:lnTo>
                  <a:lnTo>
                    <a:pt x="3510" y="3889"/>
                  </a:lnTo>
                  <a:lnTo>
                    <a:pt x="3199" y="3251"/>
                  </a:lnTo>
                  <a:close/>
                  <a:moveTo>
                    <a:pt x="3237" y="3234"/>
                  </a:moveTo>
                  <a:lnTo>
                    <a:pt x="3311" y="3202"/>
                  </a:lnTo>
                  <a:lnTo>
                    <a:pt x="3858" y="4513"/>
                  </a:lnTo>
                  <a:lnTo>
                    <a:pt x="3784" y="4546"/>
                  </a:lnTo>
                  <a:lnTo>
                    <a:pt x="3237" y="3234"/>
                  </a:lnTo>
                  <a:close/>
                  <a:moveTo>
                    <a:pt x="3311" y="3202"/>
                  </a:moveTo>
                  <a:lnTo>
                    <a:pt x="3335" y="3191"/>
                  </a:lnTo>
                  <a:lnTo>
                    <a:pt x="3584" y="3857"/>
                  </a:lnTo>
                  <a:lnTo>
                    <a:pt x="3311" y="3202"/>
                  </a:lnTo>
                  <a:close/>
                  <a:moveTo>
                    <a:pt x="3335" y="3191"/>
                  </a:moveTo>
                  <a:lnTo>
                    <a:pt x="3411" y="3161"/>
                  </a:lnTo>
                  <a:lnTo>
                    <a:pt x="3909" y="4494"/>
                  </a:lnTo>
                  <a:lnTo>
                    <a:pt x="3833" y="4524"/>
                  </a:lnTo>
                  <a:lnTo>
                    <a:pt x="3335" y="3191"/>
                  </a:lnTo>
                  <a:close/>
                  <a:moveTo>
                    <a:pt x="3411" y="3161"/>
                  </a:moveTo>
                  <a:lnTo>
                    <a:pt x="3455" y="3147"/>
                  </a:lnTo>
                  <a:lnTo>
                    <a:pt x="3660" y="3828"/>
                  </a:lnTo>
                  <a:lnTo>
                    <a:pt x="3411" y="3161"/>
                  </a:lnTo>
                  <a:close/>
                  <a:moveTo>
                    <a:pt x="3455" y="3147"/>
                  </a:moveTo>
                  <a:lnTo>
                    <a:pt x="3533" y="3122"/>
                  </a:lnTo>
                  <a:lnTo>
                    <a:pt x="3943" y="4484"/>
                  </a:lnTo>
                  <a:lnTo>
                    <a:pt x="3865" y="4509"/>
                  </a:lnTo>
                  <a:lnTo>
                    <a:pt x="3455" y="3147"/>
                  </a:lnTo>
                  <a:close/>
                  <a:moveTo>
                    <a:pt x="3533" y="3122"/>
                  </a:moveTo>
                  <a:lnTo>
                    <a:pt x="3566" y="3112"/>
                  </a:lnTo>
                  <a:lnTo>
                    <a:pt x="3738" y="3804"/>
                  </a:lnTo>
                  <a:lnTo>
                    <a:pt x="3533" y="3122"/>
                  </a:lnTo>
                  <a:close/>
                  <a:moveTo>
                    <a:pt x="3566" y="3112"/>
                  </a:moveTo>
                  <a:lnTo>
                    <a:pt x="3644" y="3091"/>
                  </a:lnTo>
                  <a:lnTo>
                    <a:pt x="3989" y="4475"/>
                  </a:lnTo>
                  <a:lnTo>
                    <a:pt x="3910" y="4496"/>
                  </a:lnTo>
                  <a:lnTo>
                    <a:pt x="3566" y="3112"/>
                  </a:lnTo>
                  <a:close/>
                  <a:moveTo>
                    <a:pt x="3644" y="3091"/>
                  </a:moveTo>
                  <a:lnTo>
                    <a:pt x="3688" y="3082"/>
                  </a:lnTo>
                  <a:lnTo>
                    <a:pt x="3817" y="3783"/>
                  </a:lnTo>
                  <a:lnTo>
                    <a:pt x="3644" y="3091"/>
                  </a:lnTo>
                  <a:close/>
                  <a:moveTo>
                    <a:pt x="3688" y="3082"/>
                  </a:moveTo>
                  <a:lnTo>
                    <a:pt x="3769" y="3067"/>
                  </a:lnTo>
                  <a:lnTo>
                    <a:pt x="4026" y="4467"/>
                  </a:lnTo>
                  <a:lnTo>
                    <a:pt x="3945" y="4483"/>
                  </a:lnTo>
                  <a:lnTo>
                    <a:pt x="3688" y="3082"/>
                  </a:lnTo>
                  <a:close/>
                  <a:moveTo>
                    <a:pt x="3769" y="3067"/>
                  </a:moveTo>
                  <a:lnTo>
                    <a:pt x="3802" y="3061"/>
                  </a:lnTo>
                  <a:lnTo>
                    <a:pt x="3897" y="3767"/>
                  </a:lnTo>
                  <a:lnTo>
                    <a:pt x="3769" y="3067"/>
                  </a:lnTo>
                  <a:close/>
                  <a:moveTo>
                    <a:pt x="3802" y="3061"/>
                  </a:moveTo>
                  <a:lnTo>
                    <a:pt x="3883" y="3050"/>
                  </a:lnTo>
                  <a:lnTo>
                    <a:pt x="4074" y="4461"/>
                  </a:lnTo>
                  <a:lnTo>
                    <a:pt x="3993" y="4473"/>
                  </a:lnTo>
                  <a:lnTo>
                    <a:pt x="3802" y="3061"/>
                  </a:lnTo>
                  <a:close/>
                  <a:moveTo>
                    <a:pt x="3883" y="3050"/>
                  </a:moveTo>
                  <a:lnTo>
                    <a:pt x="3924" y="3044"/>
                  </a:lnTo>
                  <a:lnTo>
                    <a:pt x="3979" y="3756"/>
                  </a:lnTo>
                  <a:lnTo>
                    <a:pt x="3883" y="3050"/>
                  </a:lnTo>
                  <a:close/>
                  <a:moveTo>
                    <a:pt x="3924" y="3044"/>
                  </a:moveTo>
                  <a:lnTo>
                    <a:pt x="4007" y="3038"/>
                  </a:lnTo>
                  <a:lnTo>
                    <a:pt x="4116" y="4460"/>
                  </a:lnTo>
                  <a:lnTo>
                    <a:pt x="4033" y="4467"/>
                  </a:lnTo>
                  <a:lnTo>
                    <a:pt x="3924" y="3044"/>
                  </a:lnTo>
                  <a:close/>
                  <a:moveTo>
                    <a:pt x="4007" y="3038"/>
                  </a:moveTo>
                  <a:lnTo>
                    <a:pt x="4039" y="3038"/>
                  </a:lnTo>
                  <a:lnTo>
                    <a:pt x="4061" y="3749"/>
                  </a:lnTo>
                  <a:lnTo>
                    <a:pt x="4007" y="3038"/>
                  </a:lnTo>
                  <a:close/>
                  <a:moveTo>
                    <a:pt x="4039" y="3038"/>
                  </a:moveTo>
                  <a:lnTo>
                    <a:pt x="4124" y="3034"/>
                  </a:lnTo>
                  <a:lnTo>
                    <a:pt x="4168" y="4457"/>
                  </a:lnTo>
                  <a:lnTo>
                    <a:pt x="4083" y="4460"/>
                  </a:lnTo>
                  <a:lnTo>
                    <a:pt x="4039" y="3038"/>
                  </a:lnTo>
                  <a:close/>
                  <a:moveTo>
                    <a:pt x="4124" y="3034"/>
                  </a:moveTo>
                  <a:lnTo>
                    <a:pt x="4168" y="3034"/>
                  </a:lnTo>
                  <a:lnTo>
                    <a:pt x="4146" y="3746"/>
                  </a:lnTo>
                  <a:lnTo>
                    <a:pt x="4124" y="3034"/>
                  </a:lnTo>
                  <a:close/>
                  <a:moveTo>
                    <a:pt x="4809" y="0"/>
                  </a:moveTo>
                  <a:lnTo>
                    <a:pt x="5019" y="7"/>
                  </a:lnTo>
                  <a:lnTo>
                    <a:pt x="4975" y="1430"/>
                  </a:lnTo>
                  <a:lnTo>
                    <a:pt x="4765" y="1422"/>
                  </a:lnTo>
                  <a:lnTo>
                    <a:pt x="4809" y="0"/>
                  </a:lnTo>
                  <a:close/>
                  <a:moveTo>
                    <a:pt x="5019" y="7"/>
                  </a:moveTo>
                  <a:lnTo>
                    <a:pt x="5051" y="7"/>
                  </a:lnTo>
                  <a:lnTo>
                    <a:pt x="4997" y="718"/>
                  </a:lnTo>
                  <a:lnTo>
                    <a:pt x="5019" y="7"/>
                  </a:lnTo>
                  <a:close/>
                  <a:moveTo>
                    <a:pt x="5051" y="7"/>
                  </a:moveTo>
                  <a:lnTo>
                    <a:pt x="5259" y="24"/>
                  </a:lnTo>
                  <a:lnTo>
                    <a:pt x="5149" y="1446"/>
                  </a:lnTo>
                  <a:lnTo>
                    <a:pt x="4942" y="1430"/>
                  </a:lnTo>
                  <a:lnTo>
                    <a:pt x="5051" y="7"/>
                  </a:lnTo>
                  <a:close/>
                  <a:moveTo>
                    <a:pt x="5259" y="24"/>
                  </a:moveTo>
                  <a:lnTo>
                    <a:pt x="5297" y="29"/>
                  </a:lnTo>
                  <a:lnTo>
                    <a:pt x="5204" y="735"/>
                  </a:lnTo>
                  <a:lnTo>
                    <a:pt x="5259" y="24"/>
                  </a:lnTo>
                  <a:close/>
                  <a:moveTo>
                    <a:pt x="5297" y="29"/>
                  </a:moveTo>
                  <a:lnTo>
                    <a:pt x="5501" y="57"/>
                  </a:lnTo>
                  <a:lnTo>
                    <a:pt x="5316" y="1469"/>
                  </a:lnTo>
                  <a:lnTo>
                    <a:pt x="5111" y="1441"/>
                  </a:lnTo>
                  <a:lnTo>
                    <a:pt x="5297" y="29"/>
                  </a:lnTo>
                  <a:close/>
                  <a:moveTo>
                    <a:pt x="5501" y="57"/>
                  </a:moveTo>
                  <a:lnTo>
                    <a:pt x="5542" y="63"/>
                  </a:lnTo>
                  <a:lnTo>
                    <a:pt x="5409" y="763"/>
                  </a:lnTo>
                  <a:lnTo>
                    <a:pt x="5501" y="57"/>
                  </a:lnTo>
                  <a:close/>
                  <a:moveTo>
                    <a:pt x="5542" y="63"/>
                  </a:moveTo>
                  <a:lnTo>
                    <a:pt x="5744" y="103"/>
                  </a:lnTo>
                  <a:lnTo>
                    <a:pt x="5476" y="1504"/>
                  </a:lnTo>
                  <a:lnTo>
                    <a:pt x="5275" y="1463"/>
                  </a:lnTo>
                  <a:lnTo>
                    <a:pt x="5542" y="63"/>
                  </a:lnTo>
                  <a:close/>
                  <a:moveTo>
                    <a:pt x="5744" y="103"/>
                  </a:moveTo>
                  <a:lnTo>
                    <a:pt x="5777" y="111"/>
                  </a:lnTo>
                  <a:lnTo>
                    <a:pt x="5610" y="803"/>
                  </a:lnTo>
                  <a:lnTo>
                    <a:pt x="5744" y="103"/>
                  </a:lnTo>
                  <a:close/>
                  <a:moveTo>
                    <a:pt x="5777" y="111"/>
                  </a:moveTo>
                  <a:lnTo>
                    <a:pt x="5974" y="161"/>
                  </a:lnTo>
                  <a:lnTo>
                    <a:pt x="5641" y="1545"/>
                  </a:lnTo>
                  <a:lnTo>
                    <a:pt x="5443" y="1495"/>
                  </a:lnTo>
                  <a:lnTo>
                    <a:pt x="5777" y="111"/>
                  </a:lnTo>
                  <a:close/>
                  <a:moveTo>
                    <a:pt x="5974" y="161"/>
                  </a:moveTo>
                  <a:lnTo>
                    <a:pt x="6013" y="173"/>
                  </a:lnTo>
                  <a:lnTo>
                    <a:pt x="5808" y="853"/>
                  </a:lnTo>
                  <a:lnTo>
                    <a:pt x="5974" y="161"/>
                  </a:lnTo>
                  <a:close/>
                  <a:moveTo>
                    <a:pt x="6013" y="173"/>
                  </a:moveTo>
                  <a:lnTo>
                    <a:pt x="6207" y="234"/>
                  </a:lnTo>
                  <a:lnTo>
                    <a:pt x="5796" y="1595"/>
                  </a:lnTo>
                  <a:lnTo>
                    <a:pt x="5603" y="1534"/>
                  </a:lnTo>
                  <a:lnTo>
                    <a:pt x="6013" y="173"/>
                  </a:lnTo>
                  <a:close/>
                  <a:moveTo>
                    <a:pt x="6207" y="234"/>
                  </a:moveTo>
                  <a:lnTo>
                    <a:pt x="6239" y="245"/>
                  </a:lnTo>
                  <a:lnTo>
                    <a:pt x="6002" y="914"/>
                  </a:lnTo>
                  <a:lnTo>
                    <a:pt x="6207" y="234"/>
                  </a:lnTo>
                  <a:close/>
                  <a:moveTo>
                    <a:pt x="6239" y="245"/>
                  </a:moveTo>
                  <a:lnTo>
                    <a:pt x="6430" y="315"/>
                  </a:lnTo>
                  <a:lnTo>
                    <a:pt x="5954" y="1654"/>
                  </a:lnTo>
                  <a:lnTo>
                    <a:pt x="5764" y="1584"/>
                  </a:lnTo>
                  <a:lnTo>
                    <a:pt x="6239" y="245"/>
                  </a:lnTo>
                  <a:close/>
                  <a:moveTo>
                    <a:pt x="6430" y="315"/>
                  </a:moveTo>
                  <a:lnTo>
                    <a:pt x="6463" y="329"/>
                  </a:lnTo>
                  <a:lnTo>
                    <a:pt x="6192" y="985"/>
                  </a:lnTo>
                  <a:lnTo>
                    <a:pt x="6430" y="315"/>
                  </a:lnTo>
                  <a:close/>
                  <a:moveTo>
                    <a:pt x="6463" y="329"/>
                  </a:moveTo>
                  <a:lnTo>
                    <a:pt x="6649" y="409"/>
                  </a:lnTo>
                  <a:lnTo>
                    <a:pt x="6107" y="1720"/>
                  </a:lnTo>
                  <a:lnTo>
                    <a:pt x="5921" y="1640"/>
                  </a:lnTo>
                  <a:lnTo>
                    <a:pt x="6463" y="329"/>
                  </a:lnTo>
                  <a:close/>
                  <a:moveTo>
                    <a:pt x="6649" y="409"/>
                  </a:moveTo>
                  <a:lnTo>
                    <a:pt x="6685" y="426"/>
                  </a:lnTo>
                  <a:lnTo>
                    <a:pt x="6379" y="1065"/>
                  </a:lnTo>
                  <a:lnTo>
                    <a:pt x="6649" y="409"/>
                  </a:lnTo>
                  <a:close/>
                  <a:moveTo>
                    <a:pt x="6685" y="426"/>
                  </a:moveTo>
                  <a:lnTo>
                    <a:pt x="6865" y="516"/>
                  </a:lnTo>
                  <a:lnTo>
                    <a:pt x="6252" y="1794"/>
                  </a:lnTo>
                  <a:lnTo>
                    <a:pt x="6071" y="1704"/>
                  </a:lnTo>
                  <a:lnTo>
                    <a:pt x="6685" y="426"/>
                  </a:lnTo>
                  <a:close/>
                  <a:moveTo>
                    <a:pt x="6865" y="516"/>
                  </a:moveTo>
                  <a:lnTo>
                    <a:pt x="6895" y="530"/>
                  </a:lnTo>
                  <a:lnTo>
                    <a:pt x="6559" y="1155"/>
                  </a:lnTo>
                  <a:lnTo>
                    <a:pt x="6865" y="516"/>
                  </a:lnTo>
                  <a:close/>
                  <a:moveTo>
                    <a:pt x="6895" y="530"/>
                  </a:moveTo>
                  <a:lnTo>
                    <a:pt x="7072" y="629"/>
                  </a:lnTo>
                  <a:lnTo>
                    <a:pt x="6400" y="1878"/>
                  </a:lnTo>
                  <a:lnTo>
                    <a:pt x="6222" y="1780"/>
                  </a:lnTo>
                  <a:lnTo>
                    <a:pt x="6895" y="530"/>
                  </a:lnTo>
                  <a:close/>
                  <a:moveTo>
                    <a:pt x="7072" y="629"/>
                  </a:moveTo>
                  <a:lnTo>
                    <a:pt x="7102" y="648"/>
                  </a:lnTo>
                  <a:lnTo>
                    <a:pt x="6736" y="1254"/>
                  </a:lnTo>
                  <a:lnTo>
                    <a:pt x="7072" y="629"/>
                  </a:lnTo>
                  <a:close/>
                  <a:moveTo>
                    <a:pt x="7102" y="648"/>
                  </a:moveTo>
                  <a:lnTo>
                    <a:pt x="7273" y="756"/>
                  </a:lnTo>
                  <a:lnTo>
                    <a:pt x="6540" y="1967"/>
                  </a:lnTo>
                  <a:lnTo>
                    <a:pt x="6369" y="1859"/>
                  </a:lnTo>
                  <a:lnTo>
                    <a:pt x="7102" y="648"/>
                  </a:lnTo>
                  <a:close/>
                  <a:moveTo>
                    <a:pt x="7273" y="756"/>
                  </a:moveTo>
                  <a:lnTo>
                    <a:pt x="7303" y="776"/>
                  </a:lnTo>
                  <a:lnTo>
                    <a:pt x="6907" y="1361"/>
                  </a:lnTo>
                  <a:lnTo>
                    <a:pt x="7273" y="756"/>
                  </a:lnTo>
                  <a:close/>
                  <a:moveTo>
                    <a:pt x="7303" y="776"/>
                  </a:moveTo>
                  <a:lnTo>
                    <a:pt x="7469" y="893"/>
                  </a:lnTo>
                  <a:lnTo>
                    <a:pt x="6676" y="2065"/>
                  </a:lnTo>
                  <a:lnTo>
                    <a:pt x="6510" y="1948"/>
                  </a:lnTo>
                  <a:lnTo>
                    <a:pt x="7303" y="776"/>
                  </a:lnTo>
                  <a:close/>
                  <a:moveTo>
                    <a:pt x="7469" y="893"/>
                  </a:moveTo>
                  <a:lnTo>
                    <a:pt x="7494" y="912"/>
                  </a:lnTo>
                  <a:lnTo>
                    <a:pt x="7073" y="1479"/>
                  </a:lnTo>
                  <a:lnTo>
                    <a:pt x="7469" y="893"/>
                  </a:lnTo>
                  <a:close/>
                  <a:moveTo>
                    <a:pt x="7494" y="912"/>
                  </a:moveTo>
                  <a:lnTo>
                    <a:pt x="7654" y="1037"/>
                  </a:lnTo>
                  <a:lnTo>
                    <a:pt x="6812" y="2169"/>
                  </a:lnTo>
                  <a:lnTo>
                    <a:pt x="6651" y="2046"/>
                  </a:lnTo>
                  <a:lnTo>
                    <a:pt x="7494" y="912"/>
                  </a:lnTo>
                  <a:close/>
                  <a:moveTo>
                    <a:pt x="7654" y="1037"/>
                  </a:moveTo>
                  <a:lnTo>
                    <a:pt x="7684" y="1059"/>
                  </a:lnTo>
                  <a:lnTo>
                    <a:pt x="7233" y="1603"/>
                  </a:lnTo>
                  <a:lnTo>
                    <a:pt x="7654" y="1037"/>
                  </a:lnTo>
                  <a:close/>
                  <a:moveTo>
                    <a:pt x="7684" y="1059"/>
                  </a:moveTo>
                  <a:lnTo>
                    <a:pt x="7838" y="1193"/>
                  </a:lnTo>
                  <a:lnTo>
                    <a:pt x="6936" y="2280"/>
                  </a:lnTo>
                  <a:lnTo>
                    <a:pt x="6782" y="2147"/>
                  </a:lnTo>
                  <a:lnTo>
                    <a:pt x="7684" y="1059"/>
                  </a:lnTo>
                  <a:close/>
                  <a:moveTo>
                    <a:pt x="7838" y="1193"/>
                  </a:moveTo>
                  <a:lnTo>
                    <a:pt x="7863" y="1215"/>
                  </a:lnTo>
                  <a:lnTo>
                    <a:pt x="7387" y="1737"/>
                  </a:lnTo>
                  <a:lnTo>
                    <a:pt x="7838" y="1193"/>
                  </a:lnTo>
                  <a:close/>
                  <a:moveTo>
                    <a:pt x="7863" y="1215"/>
                  </a:moveTo>
                  <a:lnTo>
                    <a:pt x="8012" y="1357"/>
                  </a:lnTo>
                  <a:lnTo>
                    <a:pt x="7060" y="2400"/>
                  </a:lnTo>
                  <a:lnTo>
                    <a:pt x="6912" y="2258"/>
                  </a:lnTo>
                  <a:lnTo>
                    <a:pt x="7863" y="1215"/>
                  </a:lnTo>
                  <a:close/>
                  <a:moveTo>
                    <a:pt x="8012" y="1357"/>
                  </a:moveTo>
                  <a:lnTo>
                    <a:pt x="8034" y="1379"/>
                  </a:lnTo>
                  <a:lnTo>
                    <a:pt x="7536" y="1878"/>
                  </a:lnTo>
                  <a:lnTo>
                    <a:pt x="8012" y="1357"/>
                  </a:lnTo>
                  <a:close/>
                  <a:moveTo>
                    <a:pt x="8034" y="1379"/>
                  </a:moveTo>
                  <a:lnTo>
                    <a:pt x="8176" y="1526"/>
                  </a:lnTo>
                  <a:lnTo>
                    <a:pt x="7180" y="2525"/>
                  </a:lnTo>
                  <a:lnTo>
                    <a:pt x="7038" y="2377"/>
                  </a:lnTo>
                  <a:lnTo>
                    <a:pt x="8034" y="1379"/>
                  </a:lnTo>
                  <a:close/>
                  <a:moveTo>
                    <a:pt x="8176" y="1526"/>
                  </a:moveTo>
                  <a:lnTo>
                    <a:pt x="8200" y="1555"/>
                  </a:lnTo>
                  <a:lnTo>
                    <a:pt x="7678" y="2026"/>
                  </a:lnTo>
                  <a:lnTo>
                    <a:pt x="8176" y="1526"/>
                  </a:lnTo>
                  <a:close/>
                  <a:moveTo>
                    <a:pt x="8200" y="1555"/>
                  </a:moveTo>
                  <a:lnTo>
                    <a:pt x="8336" y="1710"/>
                  </a:lnTo>
                  <a:lnTo>
                    <a:pt x="7291" y="2654"/>
                  </a:lnTo>
                  <a:lnTo>
                    <a:pt x="7156" y="2498"/>
                  </a:lnTo>
                  <a:lnTo>
                    <a:pt x="8200" y="1555"/>
                  </a:lnTo>
                  <a:close/>
                  <a:moveTo>
                    <a:pt x="8336" y="1710"/>
                  </a:moveTo>
                  <a:lnTo>
                    <a:pt x="8357" y="1736"/>
                  </a:lnTo>
                  <a:lnTo>
                    <a:pt x="7813" y="2182"/>
                  </a:lnTo>
                  <a:lnTo>
                    <a:pt x="8336" y="1710"/>
                  </a:lnTo>
                  <a:close/>
                  <a:moveTo>
                    <a:pt x="8357" y="1736"/>
                  </a:moveTo>
                  <a:lnTo>
                    <a:pt x="8486" y="1899"/>
                  </a:lnTo>
                  <a:lnTo>
                    <a:pt x="7398" y="2792"/>
                  </a:lnTo>
                  <a:lnTo>
                    <a:pt x="7269" y="2628"/>
                  </a:lnTo>
                  <a:lnTo>
                    <a:pt x="8357" y="1736"/>
                  </a:lnTo>
                  <a:close/>
                  <a:moveTo>
                    <a:pt x="8486" y="1899"/>
                  </a:moveTo>
                  <a:lnTo>
                    <a:pt x="8505" y="1927"/>
                  </a:lnTo>
                  <a:lnTo>
                    <a:pt x="7942" y="2346"/>
                  </a:lnTo>
                  <a:lnTo>
                    <a:pt x="8486" y="1899"/>
                  </a:lnTo>
                  <a:close/>
                  <a:moveTo>
                    <a:pt x="8505" y="1927"/>
                  </a:moveTo>
                  <a:lnTo>
                    <a:pt x="8626" y="2097"/>
                  </a:lnTo>
                  <a:lnTo>
                    <a:pt x="7500" y="2933"/>
                  </a:lnTo>
                  <a:lnTo>
                    <a:pt x="7379" y="2764"/>
                  </a:lnTo>
                  <a:lnTo>
                    <a:pt x="8505" y="1927"/>
                  </a:lnTo>
                  <a:close/>
                  <a:moveTo>
                    <a:pt x="8626" y="2097"/>
                  </a:moveTo>
                  <a:lnTo>
                    <a:pt x="8645" y="2121"/>
                  </a:lnTo>
                  <a:lnTo>
                    <a:pt x="8063" y="2515"/>
                  </a:lnTo>
                  <a:lnTo>
                    <a:pt x="8626" y="2097"/>
                  </a:lnTo>
                  <a:close/>
                  <a:moveTo>
                    <a:pt x="8645" y="2121"/>
                  </a:moveTo>
                  <a:lnTo>
                    <a:pt x="8759" y="2298"/>
                  </a:lnTo>
                  <a:lnTo>
                    <a:pt x="7595" y="3084"/>
                  </a:lnTo>
                  <a:lnTo>
                    <a:pt x="7481" y="2908"/>
                  </a:lnTo>
                  <a:lnTo>
                    <a:pt x="8645" y="2121"/>
                  </a:lnTo>
                  <a:close/>
                  <a:moveTo>
                    <a:pt x="8759" y="2298"/>
                  </a:moveTo>
                  <a:lnTo>
                    <a:pt x="8776" y="2325"/>
                  </a:lnTo>
                  <a:lnTo>
                    <a:pt x="8177" y="2691"/>
                  </a:lnTo>
                  <a:lnTo>
                    <a:pt x="8759" y="2298"/>
                  </a:lnTo>
                  <a:close/>
                  <a:moveTo>
                    <a:pt x="8776" y="2325"/>
                  </a:moveTo>
                  <a:lnTo>
                    <a:pt x="8882" y="2508"/>
                  </a:lnTo>
                  <a:lnTo>
                    <a:pt x="7685" y="3239"/>
                  </a:lnTo>
                  <a:lnTo>
                    <a:pt x="7578" y="3057"/>
                  </a:lnTo>
                  <a:lnTo>
                    <a:pt x="8776" y="2325"/>
                  </a:lnTo>
                  <a:close/>
                  <a:moveTo>
                    <a:pt x="8882" y="2508"/>
                  </a:moveTo>
                  <a:lnTo>
                    <a:pt x="8899" y="2539"/>
                  </a:lnTo>
                  <a:lnTo>
                    <a:pt x="8284" y="2873"/>
                  </a:lnTo>
                  <a:lnTo>
                    <a:pt x="8882" y="2508"/>
                  </a:lnTo>
                  <a:close/>
                  <a:moveTo>
                    <a:pt x="8899" y="2539"/>
                  </a:moveTo>
                  <a:lnTo>
                    <a:pt x="8998" y="2726"/>
                  </a:lnTo>
                  <a:lnTo>
                    <a:pt x="7767" y="3396"/>
                  </a:lnTo>
                  <a:lnTo>
                    <a:pt x="7669" y="3208"/>
                  </a:lnTo>
                  <a:lnTo>
                    <a:pt x="8899" y="2539"/>
                  </a:lnTo>
                  <a:close/>
                  <a:moveTo>
                    <a:pt x="8998" y="2726"/>
                  </a:moveTo>
                  <a:lnTo>
                    <a:pt x="9011" y="2755"/>
                  </a:lnTo>
                  <a:lnTo>
                    <a:pt x="8382" y="3061"/>
                  </a:lnTo>
                  <a:lnTo>
                    <a:pt x="8998" y="2726"/>
                  </a:lnTo>
                  <a:close/>
                  <a:moveTo>
                    <a:pt x="9011" y="2755"/>
                  </a:moveTo>
                  <a:lnTo>
                    <a:pt x="9102" y="2948"/>
                  </a:lnTo>
                  <a:lnTo>
                    <a:pt x="7844" y="3561"/>
                  </a:lnTo>
                  <a:lnTo>
                    <a:pt x="7754" y="3368"/>
                  </a:lnTo>
                  <a:lnTo>
                    <a:pt x="9011" y="2755"/>
                  </a:lnTo>
                  <a:close/>
                  <a:moveTo>
                    <a:pt x="9102" y="2948"/>
                  </a:moveTo>
                  <a:lnTo>
                    <a:pt x="9118" y="2980"/>
                  </a:lnTo>
                  <a:lnTo>
                    <a:pt x="8473" y="3254"/>
                  </a:lnTo>
                  <a:lnTo>
                    <a:pt x="9102" y="2948"/>
                  </a:lnTo>
                  <a:close/>
                  <a:moveTo>
                    <a:pt x="9118" y="2980"/>
                  </a:moveTo>
                  <a:lnTo>
                    <a:pt x="9199" y="3179"/>
                  </a:lnTo>
                  <a:lnTo>
                    <a:pt x="7909" y="3726"/>
                  </a:lnTo>
                  <a:lnTo>
                    <a:pt x="7828" y="3527"/>
                  </a:lnTo>
                  <a:lnTo>
                    <a:pt x="9118" y="2980"/>
                  </a:lnTo>
                  <a:close/>
                  <a:moveTo>
                    <a:pt x="9199" y="3179"/>
                  </a:moveTo>
                  <a:lnTo>
                    <a:pt x="9210" y="3210"/>
                  </a:lnTo>
                  <a:lnTo>
                    <a:pt x="8554" y="3453"/>
                  </a:lnTo>
                  <a:lnTo>
                    <a:pt x="9199" y="3179"/>
                  </a:lnTo>
                  <a:close/>
                  <a:moveTo>
                    <a:pt x="9210" y="3210"/>
                  </a:moveTo>
                  <a:lnTo>
                    <a:pt x="9283" y="3414"/>
                  </a:lnTo>
                  <a:lnTo>
                    <a:pt x="7971" y="3900"/>
                  </a:lnTo>
                  <a:lnTo>
                    <a:pt x="7898" y="3696"/>
                  </a:lnTo>
                  <a:lnTo>
                    <a:pt x="9210" y="3210"/>
                  </a:lnTo>
                  <a:close/>
                  <a:moveTo>
                    <a:pt x="9283" y="3414"/>
                  </a:moveTo>
                  <a:lnTo>
                    <a:pt x="9294" y="3445"/>
                  </a:lnTo>
                  <a:lnTo>
                    <a:pt x="8627" y="3657"/>
                  </a:lnTo>
                  <a:lnTo>
                    <a:pt x="9283" y="3414"/>
                  </a:lnTo>
                  <a:close/>
                  <a:moveTo>
                    <a:pt x="9294" y="3445"/>
                  </a:moveTo>
                  <a:lnTo>
                    <a:pt x="9359" y="3653"/>
                  </a:lnTo>
                  <a:lnTo>
                    <a:pt x="8024" y="4077"/>
                  </a:lnTo>
                  <a:lnTo>
                    <a:pt x="7960" y="3869"/>
                  </a:lnTo>
                  <a:lnTo>
                    <a:pt x="9294" y="3445"/>
                  </a:lnTo>
                  <a:close/>
                  <a:moveTo>
                    <a:pt x="9359" y="3653"/>
                  </a:moveTo>
                  <a:lnTo>
                    <a:pt x="9367" y="3683"/>
                  </a:lnTo>
                  <a:lnTo>
                    <a:pt x="8691" y="3865"/>
                  </a:lnTo>
                  <a:lnTo>
                    <a:pt x="9359" y="3653"/>
                  </a:lnTo>
                  <a:close/>
                  <a:moveTo>
                    <a:pt x="9367" y="3683"/>
                  </a:moveTo>
                  <a:lnTo>
                    <a:pt x="9422" y="3898"/>
                  </a:lnTo>
                  <a:lnTo>
                    <a:pt x="8072" y="4260"/>
                  </a:lnTo>
                  <a:lnTo>
                    <a:pt x="8016" y="4047"/>
                  </a:lnTo>
                  <a:lnTo>
                    <a:pt x="9367" y="3683"/>
                  </a:lnTo>
                  <a:close/>
                  <a:moveTo>
                    <a:pt x="9422" y="3898"/>
                  </a:moveTo>
                  <a:lnTo>
                    <a:pt x="9431" y="3930"/>
                  </a:lnTo>
                  <a:lnTo>
                    <a:pt x="8747" y="4078"/>
                  </a:lnTo>
                  <a:lnTo>
                    <a:pt x="9422" y="3898"/>
                  </a:lnTo>
                  <a:close/>
                  <a:moveTo>
                    <a:pt x="9431" y="3930"/>
                  </a:moveTo>
                  <a:lnTo>
                    <a:pt x="9476" y="4147"/>
                  </a:lnTo>
                  <a:lnTo>
                    <a:pt x="8109" y="4442"/>
                  </a:lnTo>
                  <a:lnTo>
                    <a:pt x="8064" y="4226"/>
                  </a:lnTo>
                  <a:lnTo>
                    <a:pt x="9431" y="3930"/>
                  </a:lnTo>
                  <a:close/>
                  <a:moveTo>
                    <a:pt x="9476" y="4147"/>
                  </a:moveTo>
                  <a:lnTo>
                    <a:pt x="9481" y="4178"/>
                  </a:lnTo>
                  <a:lnTo>
                    <a:pt x="8792" y="4295"/>
                  </a:lnTo>
                  <a:lnTo>
                    <a:pt x="9476" y="4147"/>
                  </a:lnTo>
                  <a:close/>
                  <a:moveTo>
                    <a:pt x="9481" y="4178"/>
                  </a:moveTo>
                  <a:lnTo>
                    <a:pt x="9518" y="4400"/>
                  </a:lnTo>
                  <a:lnTo>
                    <a:pt x="8140" y="4633"/>
                  </a:lnTo>
                  <a:lnTo>
                    <a:pt x="8103" y="4412"/>
                  </a:lnTo>
                  <a:lnTo>
                    <a:pt x="9481" y="4178"/>
                  </a:lnTo>
                  <a:close/>
                  <a:moveTo>
                    <a:pt x="9518" y="4400"/>
                  </a:moveTo>
                  <a:lnTo>
                    <a:pt x="9523" y="4435"/>
                  </a:lnTo>
                  <a:lnTo>
                    <a:pt x="8829" y="4516"/>
                  </a:lnTo>
                  <a:lnTo>
                    <a:pt x="9518" y="4400"/>
                  </a:lnTo>
                  <a:close/>
                  <a:moveTo>
                    <a:pt x="9523" y="4435"/>
                  </a:moveTo>
                  <a:lnTo>
                    <a:pt x="9549" y="4660"/>
                  </a:lnTo>
                  <a:lnTo>
                    <a:pt x="8160" y="4821"/>
                  </a:lnTo>
                  <a:lnTo>
                    <a:pt x="8134" y="4598"/>
                  </a:lnTo>
                  <a:lnTo>
                    <a:pt x="9523" y="4435"/>
                  </a:lnTo>
                  <a:close/>
                  <a:moveTo>
                    <a:pt x="9549" y="4660"/>
                  </a:moveTo>
                  <a:lnTo>
                    <a:pt x="9552" y="4690"/>
                  </a:lnTo>
                  <a:lnTo>
                    <a:pt x="8855" y="4740"/>
                  </a:lnTo>
                  <a:lnTo>
                    <a:pt x="9549" y="4660"/>
                  </a:lnTo>
                  <a:close/>
                  <a:moveTo>
                    <a:pt x="9552" y="4690"/>
                  </a:moveTo>
                  <a:lnTo>
                    <a:pt x="9568" y="4918"/>
                  </a:lnTo>
                  <a:lnTo>
                    <a:pt x="8174" y="5019"/>
                  </a:lnTo>
                  <a:lnTo>
                    <a:pt x="8157" y="4790"/>
                  </a:lnTo>
                  <a:lnTo>
                    <a:pt x="9552" y="4690"/>
                  </a:lnTo>
                  <a:close/>
                  <a:moveTo>
                    <a:pt x="9568" y="4918"/>
                  </a:moveTo>
                  <a:lnTo>
                    <a:pt x="9568" y="4955"/>
                  </a:lnTo>
                  <a:lnTo>
                    <a:pt x="8871" y="4969"/>
                  </a:lnTo>
                  <a:lnTo>
                    <a:pt x="9568" y="4918"/>
                  </a:lnTo>
                  <a:close/>
                  <a:moveTo>
                    <a:pt x="9568" y="4955"/>
                  </a:moveTo>
                  <a:lnTo>
                    <a:pt x="9573" y="5185"/>
                  </a:lnTo>
                  <a:lnTo>
                    <a:pt x="8178" y="5214"/>
                  </a:lnTo>
                  <a:lnTo>
                    <a:pt x="8174" y="4982"/>
                  </a:lnTo>
                  <a:lnTo>
                    <a:pt x="9568" y="4955"/>
                  </a:lnTo>
                  <a:close/>
                  <a:moveTo>
                    <a:pt x="9573" y="5185"/>
                  </a:moveTo>
                  <a:lnTo>
                    <a:pt x="9573" y="5214"/>
                  </a:lnTo>
                  <a:lnTo>
                    <a:pt x="8876" y="5200"/>
                  </a:lnTo>
                  <a:lnTo>
                    <a:pt x="9573" y="5185"/>
                  </a:lnTo>
                  <a:close/>
                  <a:moveTo>
                    <a:pt x="9573" y="5214"/>
                  </a:moveTo>
                  <a:lnTo>
                    <a:pt x="9568" y="5444"/>
                  </a:lnTo>
                  <a:lnTo>
                    <a:pt x="8174" y="5417"/>
                  </a:lnTo>
                  <a:lnTo>
                    <a:pt x="8178" y="5185"/>
                  </a:lnTo>
                  <a:lnTo>
                    <a:pt x="9573" y="5214"/>
                  </a:lnTo>
                  <a:close/>
                  <a:moveTo>
                    <a:pt x="9568" y="5444"/>
                  </a:moveTo>
                  <a:lnTo>
                    <a:pt x="9568" y="5481"/>
                  </a:lnTo>
                  <a:lnTo>
                    <a:pt x="8871" y="5431"/>
                  </a:lnTo>
                  <a:lnTo>
                    <a:pt x="9568" y="5444"/>
                  </a:lnTo>
                  <a:close/>
                  <a:moveTo>
                    <a:pt x="9568" y="5481"/>
                  </a:moveTo>
                  <a:lnTo>
                    <a:pt x="9552" y="5708"/>
                  </a:lnTo>
                  <a:lnTo>
                    <a:pt x="8157" y="5608"/>
                  </a:lnTo>
                  <a:lnTo>
                    <a:pt x="8174" y="5380"/>
                  </a:lnTo>
                  <a:lnTo>
                    <a:pt x="9568" y="5481"/>
                  </a:lnTo>
                  <a:close/>
                  <a:moveTo>
                    <a:pt x="9552" y="5708"/>
                  </a:moveTo>
                  <a:lnTo>
                    <a:pt x="9549" y="5738"/>
                  </a:lnTo>
                  <a:lnTo>
                    <a:pt x="8855" y="5658"/>
                  </a:lnTo>
                  <a:lnTo>
                    <a:pt x="9552" y="5708"/>
                  </a:lnTo>
                  <a:close/>
                  <a:moveTo>
                    <a:pt x="9549" y="5738"/>
                  </a:moveTo>
                  <a:lnTo>
                    <a:pt x="9523" y="5964"/>
                  </a:lnTo>
                  <a:lnTo>
                    <a:pt x="8134" y="5801"/>
                  </a:lnTo>
                  <a:lnTo>
                    <a:pt x="8160" y="5577"/>
                  </a:lnTo>
                  <a:lnTo>
                    <a:pt x="9549" y="5738"/>
                  </a:lnTo>
                  <a:close/>
                  <a:moveTo>
                    <a:pt x="9523" y="5964"/>
                  </a:moveTo>
                  <a:lnTo>
                    <a:pt x="9518" y="6000"/>
                  </a:lnTo>
                  <a:lnTo>
                    <a:pt x="8829" y="5883"/>
                  </a:lnTo>
                  <a:lnTo>
                    <a:pt x="9523" y="5964"/>
                  </a:lnTo>
                  <a:close/>
                  <a:moveTo>
                    <a:pt x="9518" y="6000"/>
                  </a:moveTo>
                  <a:lnTo>
                    <a:pt x="9481" y="6221"/>
                  </a:lnTo>
                  <a:lnTo>
                    <a:pt x="8103" y="5986"/>
                  </a:lnTo>
                  <a:lnTo>
                    <a:pt x="8140" y="5766"/>
                  </a:lnTo>
                  <a:lnTo>
                    <a:pt x="9518" y="6000"/>
                  </a:lnTo>
                  <a:close/>
                  <a:moveTo>
                    <a:pt x="9481" y="6221"/>
                  </a:moveTo>
                  <a:lnTo>
                    <a:pt x="9476" y="6251"/>
                  </a:lnTo>
                  <a:lnTo>
                    <a:pt x="8792" y="6103"/>
                  </a:lnTo>
                  <a:lnTo>
                    <a:pt x="9481" y="6221"/>
                  </a:lnTo>
                  <a:close/>
                  <a:moveTo>
                    <a:pt x="9476" y="6251"/>
                  </a:moveTo>
                  <a:lnTo>
                    <a:pt x="9431" y="6469"/>
                  </a:lnTo>
                  <a:lnTo>
                    <a:pt x="8064" y="6173"/>
                  </a:lnTo>
                  <a:lnTo>
                    <a:pt x="8109" y="5956"/>
                  </a:lnTo>
                  <a:lnTo>
                    <a:pt x="9476" y="6251"/>
                  </a:lnTo>
                  <a:close/>
                  <a:moveTo>
                    <a:pt x="9431" y="6469"/>
                  </a:moveTo>
                  <a:lnTo>
                    <a:pt x="9422" y="6501"/>
                  </a:lnTo>
                  <a:lnTo>
                    <a:pt x="8747" y="6321"/>
                  </a:lnTo>
                  <a:lnTo>
                    <a:pt x="9431" y="6469"/>
                  </a:lnTo>
                  <a:close/>
                  <a:moveTo>
                    <a:pt x="9422" y="6501"/>
                  </a:moveTo>
                  <a:lnTo>
                    <a:pt x="9367" y="6716"/>
                  </a:lnTo>
                  <a:lnTo>
                    <a:pt x="8016" y="6352"/>
                  </a:lnTo>
                  <a:lnTo>
                    <a:pt x="8072" y="6139"/>
                  </a:lnTo>
                  <a:lnTo>
                    <a:pt x="9422" y="6501"/>
                  </a:lnTo>
                  <a:close/>
                  <a:moveTo>
                    <a:pt x="9367" y="6716"/>
                  </a:moveTo>
                  <a:lnTo>
                    <a:pt x="9359" y="6746"/>
                  </a:lnTo>
                  <a:lnTo>
                    <a:pt x="8691" y="6534"/>
                  </a:lnTo>
                  <a:lnTo>
                    <a:pt x="9367" y="6716"/>
                  </a:lnTo>
                  <a:close/>
                  <a:moveTo>
                    <a:pt x="9359" y="6746"/>
                  </a:moveTo>
                  <a:lnTo>
                    <a:pt x="9294" y="6954"/>
                  </a:lnTo>
                  <a:lnTo>
                    <a:pt x="7960" y="6531"/>
                  </a:lnTo>
                  <a:lnTo>
                    <a:pt x="8024" y="6322"/>
                  </a:lnTo>
                  <a:lnTo>
                    <a:pt x="9359" y="6746"/>
                  </a:lnTo>
                  <a:close/>
                  <a:moveTo>
                    <a:pt x="9294" y="6954"/>
                  </a:moveTo>
                  <a:lnTo>
                    <a:pt x="9283" y="6985"/>
                  </a:lnTo>
                  <a:lnTo>
                    <a:pt x="8627" y="6743"/>
                  </a:lnTo>
                  <a:lnTo>
                    <a:pt x="9294" y="6954"/>
                  </a:lnTo>
                  <a:close/>
                  <a:moveTo>
                    <a:pt x="9283" y="6985"/>
                  </a:moveTo>
                  <a:lnTo>
                    <a:pt x="9210" y="7189"/>
                  </a:lnTo>
                  <a:lnTo>
                    <a:pt x="7898" y="6703"/>
                  </a:lnTo>
                  <a:lnTo>
                    <a:pt x="7971" y="6500"/>
                  </a:lnTo>
                  <a:lnTo>
                    <a:pt x="9283" y="6985"/>
                  </a:lnTo>
                  <a:close/>
                  <a:moveTo>
                    <a:pt x="9210" y="7189"/>
                  </a:moveTo>
                  <a:lnTo>
                    <a:pt x="9199" y="7220"/>
                  </a:lnTo>
                  <a:lnTo>
                    <a:pt x="8554" y="6946"/>
                  </a:lnTo>
                  <a:lnTo>
                    <a:pt x="9210" y="7189"/>
                  </a:lnTo>
                  <a:close/>
                  <a:moveTo>
                    <a:pt x="9199" y="7220"/>
                  </a:moveTo>
                  <a:lnTo>
                    <a:pt x="9118" y="7419"/>
                  </a:lnTo>
                  <a:lnTo>
                    <a:pt x="7828" y="6872"/>
                  </a:lnTo>
                  <a:lnTo>
                    <a:pt x="7909" y="6673"/>
                  </a:lnTo>
                  <a:lnTo>
                    <a:pt x="9199" y="7220"/>
                  </a:lnTo>
                  <a:close/>
                  <a:moveTo>
                    <a:pt x="9118" y="7419"/>
                  </a:moveTo>
                  <a:lnTo>
                    <a:pt x="9102" y="7452"/>
                  </a:lnTo>
                  <a:lnTo>
                    <a:pt x="8473" y="7145"/>
                  </a:lnTo>
                  <a:lnTo>
                    <a:pt x="9118" y="7419"/>
                  </a:lnTo>
                  <a:close/>
                  <a:moveTo>
                    <a:pt x="9102" y="7452"/>
                  </a:moveTo>
                  <a:lnTo>
                    <a:pt x="9011" y="7645"/>
                  </a:lnTo>
                  <a:lnTo>
                    <a:pt x="7754" y="7031"/>
                  </a:lnTo>
                  <a:lnTo>
                    <a:pt x="7844" y="6838"/>
                  </a:lnTo>
                  <a:lnTo>
                    <a:pt x="9102" y="7452"/>
                  </a:lnTo>
                  <a:close/>
                  <a:moveTo>
                    <a:pt x="9011" y="7645"/>
                  </a:moveTo>
                  <a:lnTo>
                    <a:pt x="8998" y="7673"/>
                  </a:lnTo>
                  <a:lnTo>
                    <a:pt x="8382" y="7338"/>
                  </a:lnTo>
                  <a:lnTo>
                    <a:pt x="9011" y="7645"/>
                  </a:lnTo>
                  <a:close/>
                  <a:moveTo>
                    <a:pt x="8998" y="7673"/>
                  </a:moveTo>
                  <a:lnTo>
                    <a:pt x="8899" y="7860"/>
                  </a:lnTo>
                  <a:lnTo>
                    <a:pt x="7669" y="7191"/>
                  </a:lnTo>
                  <a:lnTo>
                    <a:pt x="7767" y="7003"/>
                  </a:lnTo>
                  <a:lnTo>
                    <a:pt x="8998" y="7673"/>
                  </a:lnTo>
                  <a:close/>
                  <a:moveTo>
                    <a:pt x="8899" y="7860"/>
                  </a:moveTo>
                  <a:lnTo>
                    <a:pt x="8882" y="7891"/>
                  </a:lnTo>
                  <a:lnTo>
                    <a:pt x="8284" y="7526"/>
                  </a:lnTo>
                  <a:lnTo>
                    <a:pt x="8899" y="7860"/>
                  </a:lnTo>
                  <a:close/>
                  <a:moveTo>
                    <a:pt x="8882" y="7891"/>
                  </a:moveTo>
                  <a:lnTo>
                    <a:pt x="8776" y="8074"/>
                  </a:lnTo>
                  <a:lnTo>
                    <a:pt x="7578" y="7343"/>
                  </a:lnTo>
                  <a:lnTo>
                    <a:pt x="7685" y="7160"/>
                  </a:lnTo>
                  <a:lnTo>
                    <a:pt x="8882" y="7891"/>
                  </a:lnTo>
                  <a:close/>
                  <a:moveTo>
                    <a:pt x="8776" y="8074"/>
                  </a:moveTo>
                  <a:lnTo>
                    <a:pt x="8759" y="8101"/>
                  </a:lnTo>
                  <a:lnTo>
                    <a:pt x="8177" y="7708"/>
                  </a:lnTo>
                  <a:lnTo>
                    <a:pt x="8776" y="8074"/>
                  </a:lnTo>
                  <a:close/>
                  <a:moveTo>
                    <a:pt x="8759" y="8101"/>
                  </a:moveTo>
                  <a:lnTo>
                    <a:pt x="8645" y="8278"/>
                  </a:lnTo>
                  <a:lnTo>
                    <a:pt x="7481" y="7491"/>
                  </a:lnTo>
                  <a:lnTo>
                    <a:pt x="7595" y="7315"/>
                  </a:lnTo>
                  <a:lnTo>
                    <a:pt x="8759" y="8101"/>
                  </a:lnTo>
                  <a:close/>
                  <a:moveTo>
                    <a:pt x="8645" y="8278"/>
                  </a:moveTo>
                  <a:lnTo>
                    <a:pt x="8626" y="8302"/>
                  </a:lnTo>
                  <a:lnTo>
                    <a:pt x="8063" y="7884"/>
                  </a:lnTo>
                  <a:lnTo>
                    <a:pt x="8645" y="8278"/>
                  </a:lnTo>
                  <a:close/>
                  <a:moveTo>
                    <a:pt x="8626" y="8302"/>
                  </a:moveTo>
                  <a:lnTo>
                    <a:pt x="8505" y="8473"/>
                  </a:lnTo>
                  <a:lnTo>
                    <a:pt x="7379" y="7635"/>
                  </a:lnTo>
                  <a:lnTo>
                    <a:pt x="7500" y="7466"/>
                  </a:lnTo>
                  <a:lnTo>
                    <a:pt x="8626" y="8302"/>
                  </a:lnTo>
                  <a:close/>
                  <a:moveTo>
                    <a:pt x="8505" y="8473"/>
                  </a:moveTo>
                  <a:lnTo>
                    <a:pt x="8486" y="8500"/>
                  </a:lnTo>
                  <a:lnTo>
                    <a:pt x="7942" y="8053"/>
                  </a:lnTo>
                  <a:lnTo>
                    <a:pt x="8505" y="8473"/>
                  </a:lnTo>
                  <a:close/>
                  <a:moveTo>
                    <a:pt x="8486" y="8500"/>
                  </a:moveTo>
                  <a:lnTo>
                    <a:pt x="8357" y="8662"/>
                  </a:lnTo>
                  <a:lnTo>
                    <a:pt x="7269" y="7770"/>
                  </a:lnTo>
                  <a:lnTo>
                    <a:pt x="7398" y="7607"/>
                  </a:lnTo>
                  <a:lnTo>
                    <a:pt x="8486" y="8500"/>
                  </a:lnTo>
                  <a:close/>
                  <a:moveTo>
                    <a:pt x="8357" y="8662"/>
                  </a:moveTo>
                  <a:lnTo>
                    <a:pt x="8336" y="8688"/>
                  </a:lnTo>
                  <a:lnTo>
                    <a:pt x="7813" y="8216"/>
                  </a:lnTo>
                  <a:lnTo>
                    <a:pt x="8357" y="8662"/>
                  </a:lnTo>
                  <a:close/>
                  <a:moveTo>
                    <a:pt x="8336" y="8688"/>
                  </a:moveTo>
                  <a:lnTo>
                    <a:pt x="8200" y="8843"/>
                  </a:lnTo>
                  <a:lnTo>
                    <a:pt x="7156" y="7900"/>
                  </a:lnTo>
                  <a:lnTo>
                    <a:pt x="7291" y="7745"/>
                  </a:lnTo>
                  <a:lnTo>
                    <a:pt x="8336" y="8688"/>
                  </a:lnTo>
                  <a:close/>
                  <a:moveTo>
                    <a:pt x="8200" y="8843"/>
                  </a:moveTo>
                  <a:lnTo>
                    <a:pt x="8178" y="8868"/>
                  </a:lnTo>
                  <a:lnTo>
                    <a:pt x="7678" y="8372"/>
                  </a:lnTo>
                  <a:lnTo>
                    <a:pt x="8200" y="8843"/>
                  </a:lnTo>
                  <a:close/>
                  <a:moveTo>
                    <a:pt x="8178" y="8868"/>
                  </a:moveTo>
                  <a:lnTo>
                    <a:pt x="8036" y="9017"/>
                  </a:lnTo>
                  <a:lnTo>
                    <a:pt x="7036" y="8025"/>
                  </a:lnTo>
                  <a:lnTo>
                    <a:pt x="7178" y="7876"/>
                  </a:lnTo>
                  <a:lnTo>
                    <a:pt x="8178" y="8868"/>
                  </a:lnTo>
                  <a:close/>
                  <a:moveTo>
                    <a:pt x="8036" y="9017"/>
                  </a:moveTo>
                  <a:lnTo>
                    <a:pt x="8012" y="9042"/>
                  </a:lnTo>
                  <a:lnTo>
                    <a:pt x="7536" y="8521"/>
                  </a:lnTo>
                  <a:lnTo>
                    <a:pt x="8036" y="9017"/>
                  </a:lnTo>
                  <a:close/>
                  <a:moveTo>
                    <a:pt x="8012" y="9042"/>
                  </a:moveTo>
                  <a:lnTo>
                    <a:pt x="7863" y="9184"/>
                  </a:lnTo>
                  <a:lnTo>
                    <a:pt x="6912" y="8140"/>
                  </a:lnTo>
                  <a:lnTo>
                    <a:pt x="7060" y="7999"/>
                  </a:lnTo>
                  <a:lnTo>
                    <a:pt x="8012" y="9042"/>
                  </a:lnTo>
                  <a:close/>
                  <a:moveTo>
                    <a:pt x="7863" y="9184"/>
                  </a:moveTo>
                  <a:lnTo>
                    <a:pt x="7838" y="9203"/>
                  </a:lnTo>
                  <a:lnTo>
                    <a:pt x="7387" y="8661"/>
                  </a:lnTo>
                  <a:lnTo>
                    <a:pt x="7863" y="9184"/>
                  </a:lnTo>
                  <a:close/>
                  <a:moveTo>
                    <a:pt x="7838" y="9203"/>
                  </a:moveTo>
                  <a:lnTo>
                    <a:pt x="7684" y="9337"/>
                  </a:lnTo>
                  <a:lnTo>
                    <a:pt x="6782" y="8254"/>
                  </a:lnTo>
                  <a:lnTo>
                    <a:pt x="6936" y="8121"/>
                  </a:lnTo>
                  <a:lnTo>
                    <a:pt x="7838" y="9203"/>
                  </a:lnTo>
                  <a:close/>
                  <a:moveTo>
                    <a:pt x="7684" y="9337"/>
                  </a:moveTo>
                  <a:lnTo>
                    <a:pt x="7654" y="9362"/>
                  </a:lnTo>
                  <a:lnTo>
                    <a:pt x="7233" y="8796"/>
                  </a:lnTo>
                  <a:lnTo>
                    <a:pt x="7684" y="9337"/>
                  </a:lnTo>
                  <a:close/>
                  <a:moveTo>
                    <a:pt x="7654" y="9362"/>
                  </a:moveTo>
                  <a:lnTo>
                    <a:pt x="7494" y="9487"/>
                  </a:lnTo>
                  <a:lnTo>
                    <a:pt x="6651" y="8354"/>
                  </a:lnTo>
                  <a:lnTo>
                    <a:pt x="6812" y="8230"/>
                  </a:lnTo>
                  <a:lnTo>
                    <a:pt x="7654" y="9362"/>
                  </a:lnTo>
                  <a:close/>
                  <a:moveTo>
                    <a:pt x="7494" y="9487"/>
                  </a:moveTo>
                  <a:lnTo>
                    <a:pt x="7472" y="9506"/>
                  </a:lnTo>
                  <a:lnTo>
                    <a:pt x="7073" y="8920"/>
                  </a:lnTo>
                  <a:lnTo>
                    <a:pt x="7494" y="9487"/>
                  </a:lnTo>
                  <a:close/>
                  <a:moveTo>
                    <a:pt x="7472" y="9506"/>
                  </a:moveTo>
                  <a:lnTo>
                    <a:pt x="7306" y="9623"/>
                  </a:lnTo>
                  <a:lnTo>
                    <a:pt x="6507" y="8452"/>
                  </a:lnTo>
                  <a:lnTo>
                    <a:pt x="6673" y="8335"/>
                  </a:lnTo>
                  <a:lnTo>
                    <a:pt x="7472" y="9506"/>
                  </a:lnTo>
                  <a:close/>
                  <a:moveTo>
                    <a:pt x="7306" y="9623"/>
                  </a:moveTo>
                  <a:lnTo>
                    <a:pt x="7273" y="9643"/>
                  </a:lnTo>
                  <a:lnTo>
                    <a:pt x="6907" y="9038"/>
                  </a:lnTo>
                  <a:lnTo>
                    <a:pt x="7306" y="9623"/>
                  </a:lnTo>
                  <a:close/>
                  <a:moveTo>
                    <a:pt x="7273" y="9643"/>
                  </a:moveTo>
                  <a:lnTo>
                    <a:pt x="7102" y="9751"/>
                  </a:lnTo>
                  <a:lnTo>
                    <a:pt x="6369" y="8540"/>
                  </a:lnTo>
                  <a:lnTo>
                    <a:pt x="6540" y="8433"/>
                  </a:lnTo>
                  <a:lnTo>
                    <a:pt x="7273" y="9643"/>
                  </a:lnTo>
                  <a:close/>
                  <a:moveTo>
                    <a:pt x="7102" y="9751"/>
                  </a:moveTo>
                  <a:lnTo>
                    <a:pt x="7072" y="9770"/>
                  </a:lnTo>
                  <a:lnTo>
                    <a:pt x="6736" y="9145"/>
                  </a:lnTo>
                  <a:lnTo>
                    <a:pt x="7102" y="9751"/>
                  </a:lnTo>
                  <a:close/>
                  <a:moveTo>
                    <a:pt x="7072" y="9770"/>
                  </a:moveTo>
                  <a:lnTo>
                    <a:pt x="6895" y="9869"/>
                  </a:lnTo>
                  <a:lnTo>
                    <a:pt x="6222" y="8619"/>
                  </a:lnTo>
                  <a:lnTo>
                    <a:pt x="6400" y="8521"/>
                  </a:lnTo>
                  <a:lnTo>
                    <a:pt x="7072" y="9770"/>
                  </a:lnTo>
                  <a:close/>
                  <a:moveTo>
                    <a:pt x="6895" y="9869"/>
                  </a:moveTo>
                  <a:lnTo>
                    <a:pt x="6865" y="9883"/>
                  </a:lnTo>
                  <a:lnTo>
                    <a:pt x="6559" y="9244"/>
                  </a:lnTo>
                  <a:lnTo>
                    <a:pt x="6895" y="9869"/>
                  </a:lnTo>
                  <a:close/>
                  <a:moveTo>
                    <a:pt x="6865" y="9883"/>
                  </a:moveTo>
                  <a:lnTo>
                    <a:pt x="6685" y="9973"/>
                  </a:lnTo>
                  <a:lnTo>
                    <a:pt x="6071" y="8696"/>
                  </a:lnTo>
                  <a:lnTo>
                    <a:pt x="6252" y="8605"/>
                  </a:lnTo>
                  <a:lnTo>
                    <a:pt x="6865" y="9883"/>
                  </a:lnTo>
                  <a:close/>
                  <a:moveTo>
                    <a:pt x="6685" y="9973"/>
                  </a:moveTo>
                  <a:lnTo>
                    <a:pt x="6649" y="9990"/>
                  </a:lnTo>
                  <a:lnTo>
                    <a:pt x="6379" y="9335"/>
                  </a:lnTo>
                  <a:lnTo>
                    <a:pt x="6685" y="9973"/>
                  </a:lnTo>
                  <a:close/>
                  <a:moveTo>
                    <a:pt x="6649" y="9990"/>
                  </a:moveTo>
                  <a:lnTo>
                    <a:pt x="6463" y="10070"/>
                  </a:lnTo>
                  <a:lnTo>
                    <a:pt x="5921" y="8759"/>
                  </a:lnTo>
                  <a:lnTo>
                    <a:pt x="6107" y="8679"/>
                  </a:lnTo>
                  <a:lnTo>
                    <a:pt x="6649" y="9990"/>
                  </a:lnTo>
                  <a:close/>
                  <a:moveTo>
                    <a:pt x="6463" y="10070"/>
                  </a:moveTo>
                  <a:lnTo>
                    <a:pt x="6430" y="10085"/>
                  </a:lnTo>
                  <a:lnTo>
                    <a:pt x="6192" y="9414"/>
                  </a:lnTo>
                  <a:lnTo>
                    <a:pt x="6463" y="10070"/>
                  </a:lnTo>
                  <a:close/>
                  <a:moveTo>
                    <a:pt x="6430" y="10085"/>
                  </a:moveTo>
                  <a:lnTo>
                    <a:pt x="6239" y="10155"/>
                  </a:lnTo>
                  <a:lnTo>
                    <a:pt x="5764" y="8815"/>
                  </a:lnTo>
                  <a:lnTo>
                    <a:pt x="5954" y="8745"/>
                  </a:lnTo>
                  <a:lnTo>
                    <a:pt x="6430" y="10085"/>
                  </a:lnTo>
                  <a:close/>
                  <a:moveTo>
                    <a:pt x="6239" y="10155"/>
                  </a:moveTo>
                  <a:lnTo>
                    <a:pt x="6207" y="10166"/>
                  </a:lnTo>
                  <a:lnTo>
                    <a:pt x="6002" y="9485"/>
                  </a:lnTo>
                  <a:lnTo>
                    <a:pt x="6239" y="10155"/>
                  </a:lnTo>
                  <a:close/>
                  <a:moveTo>
                    <a:pt x="6207" y="10166"/>
                  </a:moveTo>
                  <a:lnTo>
                    <a:pt x="6013" y="10226"/>
                  </a:lnTo>
                  <a:lnTo>
                    <a:pt x="5603" y="8865"/>
                  </a:lnTo>
                  <a:lnTo>
                    <a:pt x="5796" y="8804"/>
                  </a:lnTo>
                  <a:lnTo>
                    <a:pt x="6207" y="10166"/>
                  </a:lnTo>
                  <a:close/>
                  <a:moveTo>
                    <a:pt x="6013" y="10226"/>
                  </a:moveTo>
                  <a:lnTo>
                    <a:pt x="5974" y="10238"/>
                  </a:lnTo>
                  <a:lnTo>
                    <a:pt x="5808" y="9546"/>
                  </a:lnTo>
                  <a:lnTo>
                    <a:pt x="6013" y="10226"/>
                  </a:lnTo>
                  <a:close/>
                  <a:moveTo>
                    <a:pt x="5974" y="10238"/>
                  </a:moveTo>
                  <a:lnTo>
                    <a:pt x="5777" y="10288"/>
                  </a:lnTo>
                  <a:lnTo>
                    <a:pt x="5443" y="8904"/>
                  </a:lnTo>
                  <a:lnTo>
                    <a:pt x="5641" y="8854"/>
                  </a:lnTo>
                  <a:lnTo>
                    <a:pt x="5974" y="10238"/>
                  </a:lnTo>
                  <a:close/>
                  <a:moveTo>
                    <a:pt x="5777" y="10288"/>
                  </a:moveTo>
                  <a:lnTo>
                    <a:pt x="5739" y="10296"/>
                  </a:lnTo>
                  <a:lnTo>
                    <a:pt x="5610" y="9596"/>
                  </a:lnTo>
                  <a:lnTo>
                    <a:pt x="5777" y="10288"/>
                  </a:lnTo>
                  <a:close/>
                  <a:moveTo>
                    <a:pt x="5739" y="10296"/>
                  </a:moveTo>
                  <a:lnTo>
                    <a:pt x="5537" y="10335"/>
                  </a:lnTo>
                  <a:lnTo>
                    <a:pt x="5280" y="8935"/>
                  </a:lnTo>
                  <a:lnTo>
                    <a:pt x="5482" y="8896"/>
                  </a:lnTo>
                  <a:lnTo>
                    <a:pt x="5739" y="10296"/>
                  </a:lnTo>
                  <a:close/>
                  <a:moveTo>
                    <a:pt x="5537" y="10335"/>
                  </a:moveTo>
                  <a:lnTo>
                    <a:pt x="5501" y="10341"/>
                  </a:lnTo>
                  <a:lnTo>
                    <a:pt x="5409" y="9635"/>
                  </a:lnTo>
                  <a:lnTo>
                    <a:pt x="5537" y="10335"/>
                  </a:lnTo>
                  <a:close/>
                  <a:moveTo>
                    <a:pt x="5501" y="10341"/>
                  </a:moveTo>
                  <a:lnTo>
                    <a:pt x="5297" y="10369"/>
                  </a:lnTo>
                  <a:lnTo>
                    <a:pt x="5111" y="8957"/>
                  </a:lnTo>
                  <a:lnTo>
                    <a:pt x="5316" y="8930"/>
                  </a:lnTo>
                  <a:lnTo>
                    <a:pt x="5501" y="10341"/>
                  </a:lnTo>
                  <a:close/>
                  <a:moveTo>
                    <a:pt x="5297" y="10369"/>
                  </a:moveTo>
                  <a:lnTo>
                    <a:pt x="5262" y="10374"/>
                  </a:lnTo>
                  <a:lnTo>
                    <a:pt x="5204" y="9663"/>
                  </a:lnTo>
                  <a:lnTo>
                    <a:pt x="5297" y="10369"/>
                  </a:lnTo>
                  <a:close/>
                  <a:moveTo>
                    <a:pt x="5262" y="10374"/>
                  </a:moveTo>
                  <a:lnTo>
                    <a:pt x="5054" y="10393"/>
                  </a:lnTo>
                  <a:lnTo>
                    <a:pt x="4939" y="8969"/>
                  </a:lnTo>
                  <a:lnTo>
                    <a:pt x="5147" y="8952"/>
                  </a:lnTo>
                  <a:lnTo>
                    <a:pt x="5262" y="10374"/>
                  </a:lnTo>
                  <a:close/>
                  <a:moveTo>
                    <a:pt x="5054" y="10393"/>
                  </a:moveTo>
                  <a:lnTo>
                    <a:pt x="5013" y="10393"/>
                  </a:lnTo>
                  <a:lnTo>
                    <a:pt x="4997" y="9681"/>
                  </a:lnTo>
                  <a:lnTo>
                    <a:pt x="5054" y="10393"/>
                  </a:lnTo>
                  <a:close/>
                  <a:moveTo>
                    <a:pt x="5013" y="10393"/>
                  </a:moveTo>
                  <a:lnTo>
                    <a:pt x="4803" y="10398"/>
                  </a:lnTo>
                  <a:lnTo>
                    <a:pt x="4770" y="8976"/>
                  </a:lnTo>
                  <a:lnTo>
                    <a:pt x="4980" y="8969"/>
                  </a:lnTo>
                  <a:lnTo>
                    <a:pt x="5013" y="10393"/>
                  </a:lnTo>
                  <a:close/>
                  <a:moveTo>
                    <a:pt x="4803" y="10398"/>
                  </a:moveTo>
                  <a:lnTo>
                    <a:pt x="4770" y="10398"/>
                  </a:lnTo>
                  <a:lnTo>
                    <a:pt x="4787" y="9687"/>
                  </a:lnTo>
                  <a:lnTo>
                    <a:pt x="4803" y="10398"/>
                  </a:lnTo>
                  <a:close/>
                  <a:moveTo>
                    <a:pt x="4770" y="10398"/>
                  </a:moveTo>
                  <a:lnTo>
                    <a:pt x="4559" y="10393"/>
                  </a:lnTo>
                  <a:lnTo>
                    <a:pt x="4592" y="8969"/>
                  </a:lnTo>
                  <a:lnTo>
                    <a:pt x="4803" y="8976"/>
                  </a:lnTo>
                  <a:lnTo>
                    <a:pt x="4770" y="10398"/>
                  </a:lnTo>
                  <a:close/>
                  <a:moveTo>
                    <a:pt x="4559" y="10393"/>
                  </a:moveTo>
                  <a:lnTo>
                    <a:pt x="4518" y="10393"/>
                  </a:lnTo>
                  <a:lnTo>
                    <a:pt x="4576" y="9681"/>
                  </a:lnTo>
                  <a:lnTo>
                    <a:pt x="4559" y="10393"/>
                  </a:lnTo>
                  <a:close/>
                  <a:moveTo>
                    <a:pt x="4518" y="10393"/>
                  </a:moveTo>
                  <a:lnTo>
                    <a:pt x="4311" y="10374"/>
                  </a:lnTo>
                  <a:lnTo>
                    <a:pt x="4426" y="8952"/>
                  </a:lnTo>
                  <a:lnTo>
                    <a:pt x="4633" y="8969"/>
                  </a:lnTo>
                  <a:lnTo>
                    <a:pt x="4518" y="10393"/>
                  </a:lnTo>
                  <a:close/>
                  <a:moveTo>
                    <a:pt x="4311" y="10374"/>
                  </a:moveTo>
                  <a:lnTo>
                    <a:pt x="4275" y="10369"/>
                  </a:lnTo>
                  <a:lnTo>
                    <a:pt x="4368" y="9663"/>
                  </a:lnTo>
                  <a:lnTo>
                    <a:pt x="4311" y="10374"/>
                  </a:lnTo>
                  <a:close/>
                  <a:moveTo>
                    <a:pt x="4275" y="10369"/>
                  </a:moveTo>
                  <a:lnTo>
                    <a:pt x="4071" y="10341"/>
                  </a:lnTo>
                  <a:lnTo>
                    <a:pt x="4257" y="8930"/>
                  </a:lnTo>
                  <a:lnTo>
                    <a:pt x="4461" y="8957"/>
                  </a:lnTo>
                  <a:lnTo>
                    <a:pt x="4275" y="10369"/>
                  </a:lnTo>
                  <a:close/>
                  <a:moveTo>
                    <a:pt x="4071" y="10341"/>
                  </a:moveTo>
                  <a:lnTo>
                    <a:pt x="4035" y="10335"/>
                  </a:lnTo>
                  <a:lnTo>
                    <a:pt x="4164" y="9635"/>
                  </a:lnTo>
                  <a:lnTo>
                    <a:pt x="4071" y="10341"/>
                  </a:lnTo>
                  <a:close/>
                  <a:moveTo>
                    <a:pt x="4035" y="10335"/>
                  </a:moveTo>
                  <a:lnTo>
                    <a:pt x="3834" y="10296"/>
                  </a:lnTo>
                  <a:lnTo>
                    <a:pt x="4091" y="8896"/>
                  </a:lnTo>
                  <a:lnTo>
                    <a:pt x="4292" y="8935"/>
                  </a:lnTo>
                  <a:lnTo>
                    <a:pt x="4035" y="10335"/>
                  </a:lnTo>
                  <a:close/>
                  <a:moveTo>
                    <a:pt x="3834" y="10296"/>
                  </a:moveTo>
                  <a:lnTo>
                    <a:pt x="3796" y="10288"/>
                  </a:lnTo>
                  <a:lnTo>
                    <a:pt x="3962" y="9596"/>
                  </a:lnTo>
                  <a:lnTo>
                    <a:pt x="3834" y="10296"/>
                  </a:lnTo>
                  <a:close/>
                  <a:moveTo>
                    <a:pt x="3796" y="10288"/>
                  </a:moveTo>
                  <a:lnTo>
                    <a:pt x="3598" y="10238"/>
                  </a:lnTo>
                  <a:lnTo>
                    <a:pt x="3931" y="8854"/>
                  </a:lnTo>
                  <a:lnTo>
                    <a:pt x="4129" y="8904"/>
                  </a:lnTo>
                  <a:lnTo>
                    <a:pt x="3796" y="10288"/>
                  </a:lnTo>
                  <a:close/>
                  <a:moveTo>
                    <a:pt x="3598" y="10238"/>
                  </a:moveTo>
                  <a:lnTo>
                    <a:pt x="3560" y="10226"/>
                  </a:lnTo>
                  <a:lnTo>
                    <a:pt x="3765" y="9546"/>
                  </a:lnTo>
                  <a:lnTo>
                    <a:pt x="3598" y="10238"/>
                  </a:lnTo>
                  <a:close/>
                  <a:moveTo>
                    <a:pt x="3560" y="10226"/>
                  </a:moveTo>
                  <a:lnTo>
                    <a:pt x="3366" y="10166"/>
                  </a:lnTo>
                  <a:lnTo>
                    <a:pt x="3776" y="8804"/>
                  </a:lnTo>
                  <a:lnTo>
                    <a:pt x="3970" y="8865"/>
                  </a:lnTo>
                  <a:lnTo>
                    <a:pt x="3560" y="10226"/>
                  </a:lnTo>
                  <a:close/>
                  <a:moveTo>
                    <a:pt x="3366" y="10166"/>
                  </a:moveTo>
                  <a:lnTo>
                    <a:pt x="3333" y="10155"/>
                  </a:lnTo>
                  <a:lnTo>
                    <a:pt x="3571" y="9485"/>
                  </a:lnTo>
                  <a:lnTo>
                    <a:pt x="3366" y="10166"/>
                  </a:lnTo>
                  <a:close/>
                  <a:moveTo>
                    <a:pt x="3333" y="10155"/>
                  </a:moveTo>
                  <a:lnTo>
                    <a:pt x="3143" y="10085"/>
                  </a:lnTo>
                  <a:lnTo>
                    <a:pt x="3619" y="8745"/>
                  </a:lnTo>
                  <a:lnTo>
                    <a:pt x="3809" y="8815"/>
                  </a:lnTo>
                  <a:lnTo>
                    <a:pt x="3333" y="10155"/>
                  </a:lnTo>
                  <a:close/>
                  <a:moveTo>
                    <a:pt x="3143" y="10085"/>
                  </a:moveTo>
                  <a:lnTo>
                    <a:pt x="3110" y="10070"/>
                  </a:lnTo>
                  <a:lnTo>
                    <a:pt x="3381" y="9414"/>
                  </a:lnTo>
                  <a:lnTo>
                    <a:pt x="3143" y="10085"/>
                  </a:lnTo>
                  <a:close/>
                  <a:moveTo>
                    <a:pt x="3110" y="10070"/>
                  </a:moveTo>
                  <a:lnTo>
                    <a:pt x="2924" y="9990"/>
                  </a:lnTo>
                  <a:lnTo>
                    <a:pt x="3465" y="8679"/>
                  </a:lnTo>
                  <a:lnTo>
                    <a:pt x="3651" y="8759"/>
                  </a:lnTo>
                  <a:lnTo>
                    <a:pt x="3110" y="10070"/>
                  </a:lnTo>
                  <a:close/>
                  <a:moveTo>
                    <a:pt x="2924" y="9990"/>
                  </a:moveTo>
                  <a:lnTo>
                    <a:pt x="2888" y="9975"/>
                  </a:lnTo>
                  <a:lnTo>
                    <a:pt x="3195" y="9335"/>
                  </a:lnTo>
                  <a:lnTo>
                    <a:pt x="2924" y="9990"/>
                  </a:lnTo>
                  <a:close/>
                  <a:moveTo>
                    <a:pt x="2888" y="9975"/>
                  </a:moveTo>
                  <a:lnTo>
                    <a:pt x="2707" y="9886"/>
                  </a:lnTo>
                  <a:lnTo>
                    <a:pt x="3319" y="8602"/>
                  </a:lnTo>
                  <a:lnTo>
                    <a:pt x="3501" y="8693"/>
                  </a:lnTo>
                  <a:lnTo>
                    <a:pt x="2888" y="9975"/>
                  </a:lnTo>
                  <a:close/>
                  <a:moveTo>
                    <a:pt x="2707" y="9886"/>
                  </a:moveTo>
                  <a:lnTo>
                    <a:pt x="2677" y="9869"/>
                  </a:lnTo>
                  <a:lnTo>
                    <a:pt x="3013" y="9244"/>
                  </a:lnTo>
                  <a:lnTo>
                    <a:pt x="2707" y="9886"/>
                  </a:lnTo>
                  <a:close/>
                  <a:moveTo>
                    <a:pt x="2677" y="9869"/>
                  </a:moveTo>
                  <a:lnTo>
                    <a:pt x="2501" y="9770"/>
                  </a:lnTo>
                  <a:lnTo>
                    <a:pt x="3174" y="8521"/>
                  </a:lnTo>
                  <a:lnTo>
                    <a:pt x="3349" y="8619"/>
                  </a:lnTo>
                  <a:lnTo>
                    <a:pt x="2677" y="9869"/>
                  </a:lnTo>
                  <a:close/>
                  <a:moveTo>
                    <a:pt x="2501" y="9770"/>
                  </a:moveTo>
                  <a:lnTo>
                    <a:pt x="2474" y="9753"/>
                  </a:lnTo>
                  <a:lnTo>
                    <a:pt x="2838" y="9145"/>
                  </a:lnTo>
                  <a:lnTo>
                    <a:pt x="2501" y="9770"/>
                  </a:lnTo>
                  <a:close/>
                  <a:moveTo>
                    <a:pt x="2474" y="9753"/>
                  </a:moveTo>
                  <a:lnTo>
                    <a:pt x="2302" y="9646"/>
                  </a:lnTo>
                  <a:lnTo>
                    <a:pt x="3029" y="8430"/>
                  </a:lnTo>
                  <a:lnTo>
                    <a:pt x="3201" y="8537"/>
                  </a:lnTo>
                  <a:lnTo>
                    <a:pt x="2474" y="9753"/>
                  </a:lnTo>
                  <a:close/>
                  <a:moveTo>
                    <a:pt x="2302" y="9646"/>
                  </a:moveTo>
                  <a:lnTo>
                    <a:pt x="2267" y="9620"/>
                  </a:lnTo>
                  <a:lnTo>
                    <a:pt x="2666" y="9038"/>
                  </a:lnTo>
                  <a:lnTo>
                    <a:pt x="2302" y="9646"/>
                  </a:lnTo>
                  <a:close/>
                  <a:moveTo>
                    <a:pt x="2267" y="9620"/>
                  </a:moveTo>
                  <a:lnTo>
                    <a:pt x="2102" y="9503"/>
                  </a:lnTo>
                  <a:lnTo>
                    <a:pt x="2900" y="8337"/>
                  </a:lnTo>
                  <a:lnTo>
                    <a:pt x="3065" y="8455"/>
                  </a:lnTo>
                  <a:lnTo>
                    <a:pt x="2267" y="9620"/>
                  </a:lnTo>
                  <a:close/>
                  <a:moveTo>
                    <a:pt x="2102" y="9503"/>
                  </a:moveTo>
                  <a:lnTo>
                    <a:pt x="2080" y="9489"/>
                  </a:lnTo>
                  <a:lnTo>
                    <a:pt x="2501" y="8920"/>
                  </a:lnTo>
                  <a:lnTo>
                    <a:pt x="2102" y="9503"/>
                  </a:lnTo>
                  <a:close/>
                  <a:moveTo>
                    <a:pt x="2080" y="9489"/>
                  </a:moveTo>
                  <a:lnTo>
                    <a:pt x="1919" y="9365"/>
                  </a:lnTo>
                  <a:lnTo>
                    <a:pt x="2761" y="8227"/>
                  </a:lnTo>
                  <a:lnTo>
                    <a:pt x="2922" y="8351"/>
                  </a:lnTo>
                  <a:lnTo>
                    <a:pt x="2080" y="9489"/>
                  </a:lnTo>
                  <a:close/>
                  <a:moveTo>
                    <a:pt x="1919" y="9365"/>
                  </a:moveTo>
                  <a:lnTo>
                    <a:pt x="1886" y="9337"/>
                  </a:lnTo>
                  <a:lnTo>
                    <a:pt x="2340" y="8796"/>
                  </a:lnTo>
                  <a:lnTo>
                    <a:pt x="1919" y="9365"/>
                  </a:lnTo>
                  <a:close/>
                  <a:moveTo>
                    <a:pt x="1886" y="9337"/>
                  </a:moveTo>
                  <a:lnTo>
                    <a:pt x="1732" y="9203"/>
                  </a:lnTo>
                  <a:lnTo>
                    <a:pt x="2640" y="8121"/>
                  </a:lnTo>
                  <a:lnTo>
                    <a:pt x="2793" y="8254"/>
                  </a:lnTo>
                  <a:lnTo>
                    <a:pt x="1886" y="9337"/>
                  </a:lnTo>
                  <a:close/>
                  <a:moveTo>
                    <a:pt x="1732" y="9203"/>
                  </a:moveTo>
                  <a:lnTo>
                    <a:pt x="1710" y="9184"/>
                  </a:lnTo>
                  <a:lnTo>
                    <a:pt x="2186" y="8661"/>
                  </a:lnTo>
                  <a:lnTo>
                    <a:pt x="1732" y="9203"/>
                  </a:lnTo>
                  <a:close/>
                  <a:moveTo>
                    <a:pt x="1710" y="9184"/>
                  </a:moveTo>
                  <a:lnTo>
                    <a:pt x="1562" y="9042"/>
                  </a:lnTo>
                  <a:lnTo>
                    <a:pt x="2513" y="7999"/>
                  </a:lnTo>
                  <a:lnTo>
                    <a:pt x="2662" y="8140"/>
                  </a:lnTo>
                  <a:lnTo>
                    <a:pt x="1710" y="9184"/>
                  </a:lnTo>
                  <a:close/>
                  <a:moveTo>
                    <a:pt x="1562" y="9042"/>
                  </a:moveTo>
                  <a:lnTo>
                    <a:pt x="1537" y="9017"/>
                  </a:lnTo>
                  <a:lnTo>
                    <a:pt x="2037" y="8521"/>
                  </a:lnTo>
                  <a:lnTo>
                    <a:pt x="1562" y="9042"/>
                  </a:lnTo>
                  <a:close/>
                  <a:moveTo>
                    <a:pt x="1537" y="9017"/>
                  </a:moveTo>
                  <a:lnTo>
                    <a:pt x="1395" y="8868"/>
                  </a:lnTo>
                  <a:lnTo>
                    <a:pt x="2396" y="7876"/>
                  </a:lnTo>
                  <a:lnTo>
                    <a:pt x="2538" y="8025"/>
                  </a:lnTo>
                  <a:lnTo>
                    <a:pt x="1537" y="9017"/>
                  </a:lnTo>
                  <a:close/>
                  <a:moveTo>
                    <a:pt x="1395" y="8868"/>
                  </a:moveTo>
                  <a:lnTo>
                    <a:pt x="1373" y="8843"/>
                  </a:lnTo>
                  <a:lnTo>
                    <a:pt x="1895" y="8372"/>
                  </a:lnTo>
                  <a:lnTo>
                    <a:pt x="1395" y="8868"/>
                  </a:lnTo>
                  <a:close/>
                  <a:moveTo>
                    <a:pt x="1373" y="8843"/>
                  </a:moveTo>
                  <a:lnTo>
                    <a:pt x="1238" y="8688"/>
                  </a:lnTo>
                  <a:lnTo>
                    <a:pt x="2282" y="7745"/>
                  </a:lnTo>
                  <a:lnTo>
                    <a:pt x="2417" y="7900"/>
                  </a:lnTo>
                  <a:lnTo>
                    <a:pt x="1373" y="8843"/>
                  </a:lnTo>
                  <a:close/>
                  <a:moveTo>
                    <a:pt x="1238" y="8688"/>
                  </a:moveTo>
                  <a:lnTo>
                    <a:pt x="1216" y="8662"/>
                  </a:lnTo>
                  <a:lnTo>
                    <a:pt x="1760" y="8216"/>
                  </a:lnTo>
                  <a:lnTo>
                    <a:pt x="1238" y="8688"/>
                  </a:lnTo>
                  <a:close/>
                  <a:moveTo>
                    <a:pt x="1216" y="8662"/>
                  </a:moveTo>
                  <a:lnTo>
                    <a:pt x="1087" y="8500"/>
                  </a:lnTo>
                  <a:lnTo>
                    <a:pt x="2175" y="7607"/>
                  </a:lnTo>
                  <a:lnTo>
                    <a:pt x="2304" y="7770"/>
                  </a:lnTo>
                  <a:lnTo>
                    <a:pt x="1216" y="8662"/>
                  </a:lnTo>
                  <a:close/>
                  <a:moveTo>
                    <a:pt x="1087" y="8500"/>
                  </a:moveTo>
                  <a:lnTo>
                    <a:pt x="1068" y="8473"/>
                  </a:lnTo>
                  <a:lnTo>
                    <a:pt x="1631" y="8053"/>
                  </a:lnTo>
                  <a:lnTo>
                    <a:pt x="1087" y="8500"/>
                  </a:lnTo>
                  <a:close/>
                  <a:moveTo>
                    <a:pt x="1068" y="8473"/>
                  </a:moveTo>
                  <a:lnTo>
                    <a:pt x="947" y="8302"/>
                  </a:lnTo>
                  <a:lnTo>
                    <a:pt x="2074" y="7466"/>
                  </a:lnTo>
                  <a:lnTo>
                    <a:pt x="2195" y="7635"/>
                  </a:lnTo>
                  <a:lnTo>
                    <a:pt x="1068" y="8473"/>
                  </a:lnTo>
                  <a:close/>
                  <a:moveTo>
                    <a:pt x="947" y="8302"/>
                  </a:moveTo>
                  <a:lnTo>
                    <a:pt x="928" y="8278"/>
                  </a:lnTo>
                  <a:lnTo>
                    <a:pt x="1510" y="7884"/>
                  </a:lnTo>
                  <a:lnTo>
                    <a:pt x="947" y="8302"/>
                  </a:lnTo>
                  <a:close/>
                  <a:moveTo>
                    <a:pt x="928" y="8278"/>
                  </a:moveTo>
                  <a:lnTo>
                    <a:pt x="814" y="8101"/>
                  </a:lnTo>
                  <a:lnTo>
                    <a:pt x="1979" y="7315"/>
                  </a:lnTo>
                  <a:lnTo>
                    <a:pt x="2093" y="7491"/>
                  </a:lnTo>
                  <a:lnTo>
                    <a:pt x="928" y="8278"/>
                  </a:lnTo>
                  <a:close/>
                  <a:moveTo>
                    <a:pt x="814" y="8101"/>
                  </a:moveTo>
                  <a:lnTo>
                    <a:pt x="798" y="8074"/>
                  </a:lnTo>
                  <a:lnTo>
                    <a:pt x="1396" y="7708"/>
                  </a:lnTo>
                  <a:lnTo>
                    <a:pt x="814" y="8101"/>
                  </a:lnTo>
                  <a:close/>
                  <a:moveTo>
                    <a:pt x="798" y="8074"/>
                  </a:moveTo>
                  <a:lnTo>
                    <a:pt x="691" y="7891"/>
                  </a:lnTo>
                  <a:lnTo>
                    <a:pt x="1888" y="7160"/>
                  </a:lnTo>
                  <a:lnTo>
                    <a:pt x="1995" y="7343"/>
                  </a:lnTo>
                  <a:lnTo>
                    <a:pt x="798" y="8074"/>
                  </a:lnTo>
                  <a:close/>
                  <a:moveTo>
                    <a:pt x="691" y="7891"/>
                  </a:moveTo>
                  <a:lnTo>
                    <a:pt x="675" y="7860"/>
                  </a:lnTo>
                  <a:lnTo>
                    <a:pt x="1290" y="7526"/>
                  </a:lnTo>
                  <a:lnTo>
                    <a:pt x="691" y="7891"/>
                  </a:lnTo>
                  <a:close/>
                  <a:moveTo>
                    <a:pt x="675" y="7860"/>
                  </a:moveTo>
                  <a:lnTo>
                    <a:pt x="576" y="7673"/>
                  </a:lnTo>
                  <a:lnTo>
                    <a:pt x="1806" y="7003"/>
                  </a:lnTo>
                  <a:lnTo>
                    <a:pt x="1905" y="7191"/>
                  </a:lnTo>
                  <a:lnTo>
                    <a:pt x="675" y="7860"/>
                  </a:lnTo>
                  <a:close/>
                  <a:moveTo>
                    <a:pt x="576" y="7673"/>
                  </a:moveTo>
                  <a:lnTo>
                    <a:pt x="562" y="7645"/>
                  </a:lnTo>
                  <a:lnTo>
                    <a:pt x="1191" y="7338"/>
                  </a:lnTo>
                  <a:lnTo>
                    <a:pt x="576" y="7673"/>
                  </a:lnTo>
                  <a:close/>
                  <a:moveTo>
                    <a:pt x="562" y="7645"/>
                  </a:moveTo>
                  <a:lnTo>
                    <a:pt x="472" y="7452"/>
                  </a:lnTo>
                  <a:lnTo>
                    <a:pt x="1729" y="6838"/>
                  </a:lnTo>
                  <a:lnTo>
                    <a:pt x="1820" y="7031"/>
                  </a:lnTo>
                  <a:lnTo>
                    <a:pt x="562" y="7645"/>
                  </a:lnTo>
                  <a:close/>
                  <a:moveTo>
                    <a:pt x="472" y="7452"/>
                  </a:moveTo>
                  <a:lnTo>
                    <a:pt x="455" y="7419"/>
                  </a:lnTo>
                  <a:lnTo>
                    <a:pt x="1101" y="7145"/>
                  </a:lnTo>
                  <a:lnTo>
                    <a:pt x="472" y="7452"/>
                  </a:lnTo>
                  <a:close/>
                  <a:moveTo>
                    <a:pt x="455" y="7419"/>
                  </a:moveTo>
                  <a:lnTo>
                    <a:pt x="374" y="7220"/>
                  </a:lnTo>
                  <a:lnTo>
                    <a:pt x="1664" y="6673"/>
                  </a:lnTo>
                  <a:lnTo>
                    <a:pt x="1746" y="6872"/>
                  </a:lnTo>
                  <a:lnTo>
                    <a:pt x="455" y="7419"/>
                  </a:lnTo>
                  <a:close/>
                  <a:moveTo>
                    <a:pt x="374" y="7220"/>
                  </a:moveTo>
                  <a:lnTo>
                    <a:pt x="363" y="7189"/>
                  </a:lnTo>
                  <a:lnTo>
                    <a:pt x="1019" y="6946"/>
                  </a:lnTo>
                  <a:lnTo>
                    <a:pt x="374" y="7220"/>
                  </a:lnTo>
                  <a:close/>
                  <a:moveTo>
                    <a:pt x="363" y="7189"/>
                  </a:moveTo>
                  <a:lnTo>
                    <a:pt x="290" y="6985"/>
                  </a:lnTo>
                  <a:lnTo>
                    <a:pt x="1602" y="6500"/>
                  </a:lnTo>
                  <a:lnTo>
                    <a:pt x="1675" y="6703"/>
                  </a:lnTo>
                  <a:lnTo>
                    <a:pt x="363" y="7189"/>
                  </a:lnTo>
                  <a:close/>
                  <a:moveTo>
                    <a:pt x="290" y="6985"/>
                  </a:moveTo>
                  <a:lnTo>
                    <a:pt x="279" y="6954"/>
                  </a:lnTo>
                  <a:lnTo>
                    <a:pt x="946" y="6743"/>
                  </a:lnTo>
                  <a:lnTo>
                    <a:pt x="290" y="6985"/>
                  </a:lnTo>
                  <a:close/>
                  <a:moveTo>
                    <a:pt x="279" y="6954"/>
                  </a:moveTo>
                  <a:lnTo>
                    <a:pt x="215" y="6746"/>
                  </a:lnTo>
                  <a:lnTo>
                    <a:pt x="1549" y="6322"/>
                  </a:lnTo>
                  <a:lnTo>
                    <a:pt x="1613" y="6531"/>
                  </a:lnTo>
                  <a:lnTo>
                    <a:pt x="279" y="6954"/>
                  </a:lnTo>
                  <a:close/>
                  <a:moveTo>
                    <a:pt x="215" y="6746"/>
                  </a:moveTo>
                  <a:lnTo>
                    <a:pt x="207" y="6716"/>
                  </a:lnTo>
                  <a:lnTo>
                    <a:pt x="882" y="6534"/>
                  </a:lnTo>
                  <a:lnTo>
                    <a:pt x="215" y="6746"/>
                  </a:lnTo>
                  <a:close/>
                  <a:moveTo>
                    <a:pt x="207" y="6716"/>
                  </a:moveTo>
                  <a:lnTo>
                    <a:pt x="151" y="6501"/>
                  </a:lnTo>
                  <a:lnTo>
                    <a:pt x="1502" y="6139"/>
                  </a:lnTo>
                  <a:lnTo>
                    <a:pt x="1557" y="6352"/>
                  </a:lnTo>
                  <a:lnTo>
                    <a:pt x="207" y="6716"/>
                  </a:lnTo>
                  <a:close/>
                  <a:moveTo>
                    <a:pt x="151" y="6501"/>
                  </a:moveTo>
                  <a:lnTo>
                    <a:pt x="143" y="6469"/>
                  </a:lnTo>
                  <a:lnTo>
                    <a:pt x="826" y="6321"/>
                  </a:lnTo>
                  <a:lnTo>
                    <a:pt x="151" y="6501"/>
                  </a:lnTo>
                  <a:close/>
                  <a:moveTo>
                    <a:pt x="143" y="6469"/>
                  </a:moveTo>
                  <a:lnTo>
                    <a:pt x="98" y="6251"/>
                  </a:lnTo>
                  <a:lnTo>
                    <a:pt x="1465" y="5956"/>
                  </a:lnTo>
                  <a:lnTo>
                    <a:pt x="1510" y="6173"/>
                  </a:lnTo>
                  <a:lnTo>
                    <a:pt x="143" y="6469"/>
                  </a:lnTo>
                  <a:close/>
                  <a:moveTo>
                    <a:pt x="98" y="6251"/>
                  </a:moveTo>
                  <a:lnTo>
                    <a:pt x="92" y="6221"/>
                  </a:lnTo>
                  <a:lnTo>
                    <a:pt x="781" y="6103"/>
                  </a:lnTo>
                  <a:lnTo>
                    <a:pt x="98" y="6251"/>
                  </a:lnTo>
                  <a:close/>
                  <a:moveTo>
                    <a:pt x="92" y="6221"/>
                  </a:moveTo>
                  <a:lnTo>
                    <a:pt x="56" y="6000"/>
                  </a:lnTo>
                  <a:lnTo>
                    <a:pt x="1434" y="5766"/>
                  </a:lnTo>
                  <a:lnTo>
                    <a:pt x="1470" y="5986"/>
                  </a:lnTo>
                  <a:lnTo>
                    <a:pt x="92" y="6221"/>
                  </a:lnTo>
                  <a:close/>
                  <a:moveTo>
                    <a:pt x="56" y="6000"/>
                  </a:moveTo>
                  <a:lnTo>
                    <a:pt x="50" y="5964"/>
                  </a:lnTo>
                  <a:lnTo>
                    <a:pt x="745" y="5883"/>
                  </a:lnTo>
                  <a:lnTo>
                    <a:pt x="56" y="6000"/>
                  </a:lnTo>
                  <a:close/>
                  <a:moveTo>
                    <a:pt x="50" y="5964"/>
                  </a:moveTo>
                  <a:lnTo>
                    <a:pt x="24" y="5738"/>
                  </a:lnTo>
                  <a:lnTo>
                    <a:pt x="1413" y="5577"/>
                  </a:lnTo>
                  <a:lnTo>
                    <a:pt x="1439" y="5801"/>
                  </a:lnTo>
                  <a:lnTo>
                    <a:pt x="50" y="5964"/>
                  </a:lnTo>
                  <a:close/>
                  <a:moveTo>
                    <a:pt x="24" y="5738"/>
                  </a:moveTo>
                  <a:lnTo>
                    <a:pt x="22" y="5706"/>
                  </a:lnTo>
                  <a:lnTo>
                    <a:pt x="719" y="5658"/>
                  </a:lnTo>
                  <a:lnTo>
                    <a:pt x="24" y="5738"/>
                  </a:lnTo>
                  <a:close/>
                  <a:moveTo>
                    <a:pt x="22" y="5706"/>
                  </a:moveTo>
                  <a:lnTo>
                    <a:pt x="6" y="5478"/>
                  </a:lnTo>
                  <a:lnTo>
                    <a:pt x="1401" y="5383"/>
                  </a:lnTo>
                  <a:lnTo>
                    <a:pt x="1416" y="5611"/>
                  </a:lnTo>
                  <a:lnTo>
                    <a:pt x="22" y="5706"/>
                  </a:lnTo>
                  <a:close/>
                  <a:moveTo>
                    <a:pt x="6" y="5478"/>
                  </a:moveTo>
                  <a:lnTo>
                    <a:pt x="6" y="5447"/>
                  </a:lnTo>
                  <a:lnTo>
                    <a:pt x="703" y="5431"/>
                  </a:lnTo>
                  <a:lnTo>
                    <a:pt x="6" y="5478"/>
                  </a:lnTo>
                  <a:close/>
                  <a:moveTo>
                    <a:pt x="6" y="5447"/>
                  </a:moveTo>
                  <a:lnTo>
                    <a:pt x="0" y="5217"/>
                  </a:lnTo>
                  <a:lnTo>
                    <a:pt x="1395" y="5183"/>
                  </a:lnTo>
                  <a:lnTo>
                    <a:pt x="1401" y="5414"/>
                  </a:lnTo>
                  <a:lnTo>
                    <a:pt x="6" y="5447"/>
                  </a:lnTo>
                  <a:close/>
                  <a:moveTo>
                    <a:pt x="0" y="5217"/>
                  </a:moveTo>
                  <a:lnTo>
                    <a:pt x="0" y="5183"/>
                  </a:lnTo>
                  <a:lnTo>
                    <a:pt x="698" y="5200"/>
                  </a:lnTo>
                  <a:lnTo>
                    <a:pt x="0" y="5217"/>
                  </a:lnTo>
                  <a:close/>
                  <a:moveTo>
                    <a:pt x="0" y="5183"/>
                  </a:moveTo>
                  <a:lnTo>
                    <a:pt x="6" y="4952"/>
                  </a:lnTo>
                  <a:lnTo>
                    <a:pt x="1401" y="4985"/>
                  </a:lnTo>
                  <a:lnTo>
                    <a:pt x="1395" y="5217"/>
                  </a:lnTo>
                  <a:lnTo>
                    <a:pt x="0" y="5183"/>
                  </a:lnTo>
                  <a:close/>
                  <a:moveTo>
                    <a:pt x="6" y="4952"/>
                  </a:moveTo>
                  <a:lnTo>
                    <a:pt x="6" y="4921"/>
                  </a:lnTo>
                  <a:lnTo>
                    <a:pt x="703" y="4969"/>
                  </a:lnTo>
                  <a:lnTo>
                    <a:pt x="6" y="4952"/>
                  </a:lnTo>
                  <a:close/>
                  <a:moveTo>
                    <a:pt x="6" y="4921"/>
                  </a:moveTo>
                  <a:lnTo>
                    <a:pt x="22" y="4693"/>
                  </a:lnTo>
                  <a:lnTo>
                    <a:pt x="1416" y="4787"/>
                  </a:lnTo>
                  <a:lnTo>
                    <a:pt x="1401" y="5016"/>
                  </a:lnTo>
                  <a:lnTo>
                    <a:pt x="6" y="4921"/>
                  </a:lnTo>
                  <a:close/>
                  <a:moveTo>
                    <a:pt x="22" y="4693"/>
                  </a:moveTo>
                  <a:lnTo>
                    <a:pt x="24" y="4660"/>
                  </a:lnTo>
                  <a:lnTo>
                    <a:pt x="719" y="4740"/>
                  </a:lnTo>
                  <a:lnTo>
                    <a:pt x="22" y="4693"/>
                  </a:lnTo>
                  <a:close/>
                  <a:moveTo>
                    <a:pt x="24" y="4660"/>
                  </a:moveTo>
                  <a:lnTo>
                    <a:pt x="50" y="4435"/>
                  </a:lnTo>
                  <a:lnTo>
                    <a:pt x="1439" y="4598"/>
                  </a:lnTo>
                  <a:lnTo>
                    <a:pt x="1413" y="4821"/>
                  </a:lnTo>
                  <a:lnTo>
                    <a:pt x="24" y="4660"/>
                  </a:lnTo>
                  <a:close/>
                  <a:moveTo>
                    <a:pt x="50" y="4435"/>
                  </a:moveTo>
                  <a:lnTo>
                    <a:pt x="56" y="4400"/>
                  </a:lnTo>
                  <a:lnTo>
                    <a:pt x="745" y="4516"/>
                  </a:lnTo>
                  <a:lnTo>
                    <a:pt x="50" y="4435"/>
                  </a:lnTo>
                  <a:close/>
                  <a:moveTo>
                    <a:pt x="56" y="4400"/>
                  </a:moveTo>
                  <a:lnTo>
                    <a:pt x="92" y="4178"/>
                  </a:lnTo>
                  <a:lnTo>
                    <a:pt x="1470" y="4412"/>
                  </a:lnTo>
                  <a:lnTo>
                    <a:pt x="1434" y="4633"/>
                  </a:lnTo>
                  <a:lnTo>
                    <a:pt x="56" y="4400"/>
                  </a:lnTo>
                  <a:close/>
                  <a:moveTo>
                    <a:pt x="92" y="4178"/>
                  </a:moveTo>
                  <a:lnTo>
                    <a:pt x="98" y="4147"/>
                  </a:lnTo>
                  <a:lnTo>
                    <a:pt x="781" y="4295"/>
                  </a:lnTo>
                  <a:lnTo>
                    <a:pt x="92" y="4178"/>
                  </a:lnTo>
                  <a:close/>
                  <a:moveTo>
                    <a:pt x="98" y="4147"/>
                  </a:moveTo>
                  <a:lnTo>
                    <a:pt x="143" y="3930"/>
                  </a:lnTo>
                  <a:lnTo>
                    <a:pt x="1510" y="4226"/>
                  </a:lnTo>
                  <a:lnTo>
                    <a:pt x="1465" y="4442"/>
                  </a:lnTo>
                  <a:lnTo>
                    <a:pt x="98" y="4147"/>
                  </a:lnTo>
                  <a:close/>
                  <a:moveTo>
                    <a:pt x="143" y="3930"/>
                  </a:moveTo>
                  <a:lnTo>
                    <a:pt x="151" y="3898"/>
                  </a:lnTo>
                  <a:lnTo>
                    <a:pt x="826" y="4078"/>
                  </a:lnTo>
                  <a:lnTo>
                    <a:pt x="143" y="3930"/>
                  </a:lnTo>
                  <a:close/>
                  <a:moveTo>
                    <a:pt x="151" y="3898"/>
                  </a:moveTo>
                  <a:lnTo>
                    <a:pt x="207" y="3683"/>
                  </a:lnTo>
                  <a:lnTo>
                    <a:pt x="1557" y="4047"/>
                  </a:lnTo>
                  <a:lnTo>
                    <a:pt x="1502" y="4260"/>
                  </a:lnTo>
                  <a:lnTo>
                    <a:pt x="151" y="3898"/>
                  </a:lnTo>
                  <a:close/>
                  <a:moveTo>
                    <a:pt x="207" y="3683"/>
                  </a:moveTo>
                  <a:lnTo>
                    <a:pt x="215" y="3653"/>
                  </a:lnTo>
                  <a:lnTo>
                    <a:pt x="882" y="3865"/>
                  </a:lnTo>
                  <a:lnTo>
                    <a:pt x="207" y="3683"/>
                  </a:lnTo>
                  <a:close/>
                  <a:moveTo>
                    <a:pt x="215" y="3653"/>
                  </a:moveTo>
                  <a:lnTo>
                    <a:pt x="279" y="3445"/>
                  </a:lnTo>
                  <a:lnTo>
                    <a:pt x="1613" y="3869"/>
                  </a:lnTo>
                  <a:lnTo>
                    <a:pt x="1549" y="4077"/>
                  </a:lnTo>
                  <a:lnTo>
                    <a:pt x="215" y="3653"/>
                  </a:lnTo>
                  <a:close/>
                  <a:moveTo>
                    <a:pt x="279" y="3445"/>
                  </a:moveTo>
                  <a:lnTo>
                    <a:pt x="290" y="3414"/>
                  </a:lnTo>
                  <a:lnTo>
                    <a:pt x="946" y="3657"/>
                  </a:lnTo>
                  <a:lnTo>
                    <a:pt x="279" y="3445"/>
                  </a:lnTo>
                  <a:close/>
                  <a:moveTo>
                    <a:pt x="290" y="3414"/>
                  </a:moveTo>
                  <a:lnTo>
                    <a:pt x="363" y="3210"/>
                  </a:lnTo>
                  <a:lnTo>
                    <a:pt x="1675" y="3696"/>
                  </a:lnTo>
                  <a:lnTo>
                    <a:pt x="1602" y="3900"/>
                  </a:lnTo>
                  <a:lnTo>
                    <a:pt x="290" y="3414"/>
                  </a:lnTo>
                  <a:close/>
                  <a:moveTo>
                    <a:pt x="363" y="3210"/>
                  </a:moveTo>
                  <a:lnTo>
                    <a:pt x="374" y="3179"/>
                  </a:lnTo>
                  <a:lnTo>
                    <a:pt x="1019" y="3453"/>
                  </a:lnTo>
                  <a:lnTo>
                    <a:pt x="363" y="3210"/>
                  </a:lnTo>
                  <a:close/>
                  <a:moveTo>
                    <a:pt x="374" y="3179"/>
                  </a:moveTo>
                  <a:lnTo>
                    <a:pt x="455" y="2980"/>
                  </a:lnTo>
                  <a:lnTo>
                    <a:pt x="1746" y="3527"/>
                  </a:lnTo>
                  <a:lnTo>
                    <a:pt x="1664" y="3726"/>
                  </a:lnTo>
                  <a:lnTo>
                    <a:pt x="374" y="3179"/>
                  </a:lnTo>
                  <a:close/>
                  <a:moveTo>
                    <a:pt x="455" y="2980"/>
                  </a:moveTo>
                  <a:lnTo>
                    <a:pt x="472" y="2948"/>
                  </a:lnTo>
                  <a:lnTo>
                    <a:pt x="1101" y="3254"/>
                  </a:lnTo>
                  <a:lnTo>
                    <a:pt x="455" y="2980"/>
                  </a:lnTo>
                  <a:close/>
                  <a:moveTo>
                    <a:pt x="472" y="2948"/>
                  </a:moveTo>
                  <a:lnTo>
                    <a:pt x="562" y="2755"/>
                  </a:lnTo>
                  <a:lnTo>
                    <a:pt x="1820" y="3368"/>
                  </a:lnTo>
                  <a:lnTo>
                    <a:pt x="1729" y="3561"/>
                  </a:lnTo>
                  <a:lnTo>
                    <a:pt x="472" y="2948"/>
                  </a:lnTo>
                  <a:close/>
                  <a:moveTo>
                    <a:pt x="562" y="2755"/>
                  </a:moveTo>
                  <a:lnTo>
                    <a:pt x="576" y="2726"/>
                  </a:lnTo>
                  <a:lnTo>
                    <a:pt x="1191" y="3061"/>
                  </a:lnTo>
                  <a:lnTo>
                    <a:pt x="562" y="2755"/>
                  </a:lnTo>
                  <a:close/>
                  <a:moveTo>
                    <a:pt x="576" y="2726"/>
                  </a:moveTo>
                  <a:lnTo>
                    <a:pt x="675" y="2539"/>
                  </a:lnTo>
                  <a:lnTo>
                    <a:pt x="1905" y="3208"/>
                  </a:lnTo>
                  <a:lnTo>
                    <a:pt x="1806" y="3396"/>
                  </a:lnTo>
                  <a:lnTo>
                    <a:pt x="576" y="2726"/>
                  </a:lnTo>
                  <a:close/>
                  <a:moveTo>
                    <a:pt x="675" y="2539"/>
                  </a:moveTo>
                  <a:lnTo>
                    <a:pt x="691" y="2508"/>
                  </a:lnTo>
                  <a:lnTo>
                    <a:pt x="1290" y="2873"/>
                  </a:lnTo>
                  <a:lnTo>
                    <a:pt x="675" y="2539"/>
                  </a:lnTo>
                  <a:close/>
                  <a:moveTo>
                    <a:pt x="691" y="2508"/>
                  </a:moveTo>
                  <a:lnTo>
                    <a:pt x="798" y="2325"/>
                  </a:lnTo>
                  <a:lnTo>
                    <a:pt x="1995" y="3057"/>
                  </a:lnTo>
                  <a:lnTo>
                    <a:pt x="1888" y="3239"/>
                  </a:lnTo>
                  <a:lnTo>
                    <a:pt x="691" y="2508"/>
                  </a:lnTo>
                  <a:close/>
                  <a:moveTo>
                    <a:pt x="798" y="2325"/>
                  </a:moveTo>
                  <a:lnTo>
                    <a:pt x="814" y="2298"/>
                  </a:lnTo>
                  <a:lnTo>
                    <a:pt x="1396" y="2691"/>
                  </a:lnTo>
                  <a:lnTo>
                    <a:pt x="798" y="2325"/>
                  </a:lnTo>
                  <a:close/>
                  <a:moveTo>
                    <a:pt x="814" y="2298"/>
                  </a:moveTo>
                  <a:lnTo>
                    <a:pt x="928" y="2121"/>
                  </a:lnTo>
                  <a:lnTo>
                    <a:pt x="2093" y="2908"/>
                  </a:lnTo>
                  <a:lnTo>
                    <a:pt x="1979" y="3084"/>
                  </a:lnTo>
                  <a:lnTo>
                    <a:pt x="814" y="2298"/>
                  </a:lnTo>
                  <a:close/>
                  <a:moveTo>
                    <a:pt x="928" y="2121"/>
                  </a:moveTo>
                  <a:lnTo>
                    <a:pt x="947" y="2097"/>
                  </a:lnTo>
                  <a:lnTo>
                    <a:pt x="1510" y="2515"/>
                  </a:lnTo>
                  <a:lnTo>
                    <a:pt x="928" y="2121"/>
                  </a:lnTo>
                  <a:close/>
                  <a:moveTo>
                    <a:pt x="947" y="2097"/>
                  </a:moveTo>
                  <a:lnTo>
                    <a:pt x="1068" y="1927"/>
                  </a:lnTo>
                  <a:lnTo>
                    <a:pt x="2195" y="2764"/>
                  </a:lnTo>
                  <a:lnTo>
                    <a:pt x="2074" y="2933"/>
                  </a:lnTo>
                  <a:lnTo>
                    <a:pt x="947" y="2097"/>
                  </a:lnTo>
                  <a:close/>
                  <a:moveTo>
                    <a:pt x="1068" y="1927"/>
                  </a:moveTo>
                  <a:lnTo>
                    <a:pt x="1087" y="1899"/>
                  </a:lnTo>
                  <a:lnTo>
                    <a:pt x="1631" y="2346"/>
                  </a:lnTo>
                  <a:lnTo>
                    <a:pt x="1068" y="1927"/>
                  </a:lnTo>
                  <a:close/>
                  <a:moveTo>
                    <a:pt x="1087" y="1899"/>
                  </a:moveTo>
                  <a:lnTo>
                    <a:pt x="1216" y="1736"/>
                  </a:lnTo>
                  <a:lnTo>
                    <a:pt x="2304" y="2628"/>
                  </a:lnTo>
                  <a:lnTo>
                    <a:pt x="2175" y="2792"/>
                  </a:lnTo>
                  <a:lnTo>
                    <a:pt x="1087" y="1899"/>
                  </a:lnTo>
                  <a:close/>
                  <a:moveTo>
                    <a:pt x="1216" y="1736"/>
                  </a:moveTo>
                  <a:lnTo>
                    <a:pt x="1238" y="1710"/>
                  </a:lnTo>
                  <a:lnTo>
                    <a:pt x="1760" y="2182"/>
                  </a:lnTo>
                  <a:lnTo>
                    <a:pt x="1216" y="1736"/>
                  </a:lnTo>
                  <a:close/>
                  <a:moveTo>
                    <a:pt x="1238" y="1710"/>
                  </a:moveTo>
                  <a:lnTo>
                    <a:pt x="1373" y="1555"/>
                  </a:lnTo>
                  <a:lnTo>
                    <a:pt x="2417" y="2498"/>
                  </a:lnTo>
                  <a:lnTo>
                    <a:pt x="2282" y="2654"/>
                  </a:lnTo>
                  <a:lnTo>
                    <a:pt x="1238" y="1710"/>
                  </a:lnTo>
                  <a:close/>
                  <a:moveTo>
                    <a:pt x="1373" y="1555"/>
                  </a:moveTo>
                  <a:lnTo>
                    <a:pt x="1398" y="1526"/>
                  </a:lnTo>
                  <a:lnTo>
                    <a:pt x="1895" y="2026"/>
                  </a:lnTo>
                  <a:lnTo>
                    <a:pt x="1373" y="1555"/>
                  </a:lnTo>
                  <a:close/>
                  <a:moveTo>
                    <a:pt x="1398" y="1526"/>
                  </a:moveTo>
                  <a:lnTo>
                    <a:pt x="1540" y="1379"/>
                  </a:lnTo>
                  <a:lnTo>
                    <a:pt x="2535" y="2377"/>
                  </a:lnTo>
                  <a:lnTo>
                    <a:pt x="2393" y="2525"/>
                  </a:lnTo>
                  <a:lnTo>
                    <a:pt x="1398" y="1526"/>
                  </a:lnTo>
                  <a:close/>
                  <a:moveTo>
                    <a:pt x="1540" y="1379"/>
                  </a:moveTo>
                  <a:lnTo>
                    <a:pt x="1562" y="1357"/>
                  </a:lnTo>
                  <a:lnTo>
                    <a:pt x="2037" y="1878"/>
                  </a:lnTo>
                  <a:lnTo>
                    <a:pt x="1540" y="1379"/>
                  </a:lnTo>
                  <a:close/>
                  <a:moveTo>
                    <a:pt x="1562" y="1357"/>
                  </a:moveTo>
                  <a:lnTo>
                    <a:pt x="1710" y="1215"/>
                  </a:lnTo>
                  <a:lnTo>
                    <a:pt x="2662" y="2258"/>
                  </a:lnTo>
                  <a:lnTo>
                    <a:pt x="2513" y="2400"/>
                  </a:lnTo>
                  <a:lnTo>
                    <a:pt x="1562" y="1357"/>
                  </a:lnTo>
                  <a:close/>
                  <a:moveTo>
                    <a:pt x="1710" y="1215"/>
                  </a:moveTo>
                  <a:lnTo>
                    <a:pt x="1735" y="1195"/>
                  </a:lnTo>
                  <a:lnTo>
                    <a:pt x="2186" y="1737"/>
                  </a:lnTo>
                  <a:lnTo>
                    <a:pt x="1710" y="1215"/>
                  </a:lnTo>
                  <a:close/>
                  <a:moveTo>
                    <a:pt x="1735" y="1195"/>
                  </a:moveTo>
                  <a:lnTo>
                    <a:pt x="1888" y="1062"/>
                  </a:lnTo>
                  <a:lnTo>
                    <a:pt x="2791" y="2145"/>
                  </a:lnTo>
                  <a:lnTo>
                    <a:pt x="2637" y="2277"/>
                  </a:lnTo>
                  <a:lnTo>
                    <a:pt x="1735" y="1195"/>
                  </a:lnTo>
                  <a:close/>
                  <a:moveTo>
                    <a:pt x="1888" y="1062"/>
                  </a:moveTo>
                  <a:lnTo>
                    <a:pt x="1919" y="1034"/>
                  </a:lnTo>
                  <a:lnTo>
                    <a:pt x="2340" y="1603"/>
                  </a:lnTo>
                  <a:lnTo>
                    <a:pt x="1888" y="1062"/>
                  </a:lnTo>
                  <a:close/>
                  <a:moveTo>
                    <a:pt x="1919" y="1034"/>
                  </a:moveTo>
                  <a:lnTo>
                    <a:pt x="2080" y="910"/>
                  </a:lnTo>
                  <a:lnTo>
                    <a:pt x="2922" y="2048"/>
                  </a:lnTo>
                  <a:lnTo>
                    <a:pt x="2761" y="2172"/>
                  </a:lnTo>
                  <a:lnTo>
                    <a:pt x="1919" y="1034"/>
                  </a:lnTo>
                  <a:close/>
                  <a:moveTo>
                    <a:pt x="2080" y="910"/>
                  </a:moveTo>
                  <a:lnTo>
                    <a:pt x="2102" y="896"/>
                  </a:lnTo>
                  <a:lnTo>
                    <a:pt x="2501" y="1479"/>
                  </a:lnTo>
                  <a:lnTo>
                    <a:pt x="2080" y="910"/>
                  </a:lnTo>
                  <a:close/>
                  <a:moveTo>
                    <a:pt x="2102" y="896"/>
                  </a:moveTo>
                  <a:lnTo>
                    <a:pt x="2267" y="779"/>
                  </a:lnTo>
                  <a:lnTo>
                    <a:pt x="3065" y="1945"/>
                  </a:lnTo>
                  <a:lnTo>
                    <a:pt x="2900" y="2062"/>
                  </a:lnTo>
                  <a:lnTo>
                    <a:pt x="2102" y="896"/>
                  </a:lnTo>
                  <a:close/>
                  <a:moveTo>
                    <a:pt x="2267" y="779"/>
                  </a:moveTo>
                  <a:lnTo>
                    <a:pt x="2302" y="753"/>
                  </a:lnTo>
                  <a:lnTo>
                    <a:pt x="2666" y="1361"/>
                  </a:lnTo>
                  <a:lnTo>
                    <a:pt x="2267" y="779"/>
                  </a:lnTo>
                  <a:close/>
                  <a:moveTo>
                    <a:pt x="2302" y="753"/>
                  </a:moveTo>
                  <a:lnTo>
                    <a:pt x="2474" y="646"/>
                  </a:lnTo>
                  <a:lnTo>
                    <a:pt x="3201" y="1862"/>
                  </a:lnTo>
                  <a:lnTo>
                    <a:pt x="3029" y="1969"/>
                  </a:lnTo>
                  <a:lnTo>
                    <a:pt x="2302" y="753"/>
                  </a:lnTo>
                  <a:close/>
                  <a:moveTo>
                    <a:pt x="2474" y="646"/>
                  </a:moveTo>
                  <a:lnTo>
                    <a:pt x="2501" y="629"/>
                  </a:lnTo>
                  <a:lnTo>
                    <a:pt x="2838" y="1254"/>
                  </a:lnTo>
                  <a:lnTo>
                    <a:pt x="2474" y="646"/>
                  </a:lnTo>
                  <a:close/>
                  <a:moveTo>
                    <a:pt x="2501" y="629"/>
                  </a:moveTo>
                  <a:lnTo>
                    <a:pt x="2677" y="530"/>
                  </a:lnTo>
                  <a:lnTo>
                    <a:pt x="3349" y="1780"/>
                  </a:lnTo>
                  <a:lnTo>
                    <a:pt x="3174" y="1878"/>
                  </a:lnTo>
                  <a:lnTo>
                    <a:pt x="2501" y="629"/>
                  </a:lnTo>
                  <a:close/>
                  <a:moveTo>
                    <a:pt x="2677" y="530"/>
                  </a:moveTo>
                  <a:lnTo>
                    <a:pt x="2710" y="513"/>
                  </a:lnTo>
                  <a:lnTo>
                    <a:pt x="3013" y="1155"/>
                  </a:lnTo>
                  <a:lnTo>
                    <a:pt x="2677" y="530"/>
                  </a:lnTo>
                  <a:close/>
                  <a:moveTo>
                    <a:pt x="2710" y="513"/>
                  </a:moveTo>
                  <a:lnTo>
                    <a:pt x="2891" y="424"/>
                  </a:lnTo>
                  <a:lnTo>
                    <a:pt x="3498" y="1706"/>
                  </a:lnTo>
                  <a:lnTo>
                    <a:pt x="3317" y="1797"/>
                  </a:lnTo>
                  <a:lnTo>
                    <a:pt x="2710" y="513"/>
                  </a:lnTo>
                  <a:close/>
                  <a:moveTo>
                    <a:pt x="2891" y="424"/>
                  </a:moveTo>
                  <a:lnTo>
                    <a:pt x="2924" y="409"/>
                  </a:lnTo>
                  <a:lnTo>
                    <a:pt x="3195" y="1065"/>
                  </a:lnTo>
                  <a:lnTo>
                    <a:pt x="2891" y="424"/>
                  </a:lnTo>
                  <a:close/>
                  <a:moveTo>
                    <a:pt x="2924" y="409"/>
                  </a:moveTo>
                  <a:lnTo>
                    <a:pt x="3110" y="329"/>
                  </a:lnTo>
                  <a:lnTo>
                    <a:pt x="3651" y="1640"/>
                  </a:lnTo>
                  <a:lnTo>
                    <a:pt x="3465" y="1720"/>
                  </a:lnTo>
                  <a:lnTo>
                    <a:pt x="2924" y="409"/>
                  </a:lnTo>
                  <a:close/>
                  <a:moveTo>
                    <a:pt x="3110" y="329"/>
                  </a:moveTo>
                  <a:lnTo>
                    <a:pt x="3143" y="315"/>
                  </a:lnTo>
                  <a:lnTo>
                    <a:pt x="3381" y="985"/>
                  </a:lnTo>
                  <a:lnTo>
                    <a:pt x="3110" y="329"/>
                  </a:lnTo>
                  <a:close/>
                  <a:moveTo>
                    <a:pt x="3143" y="315"/>
                  </a:moveTo>
                  <a:lnTo>
                    <a:pt x="3333" y="245"/>
                  </a:lnTo>
                  <a:lnTo>
                    <a:pt x="3809" y="1584"/>
                  </a:lnTo>
                  <a:lnTo>
                    <a:pt x="3619" y="1654"/>
                  </a:lnTo>
                  <a:lnTo>
                    <a:pt x="3143" y="315"/>
                  </a:lnTo>
                  <a:close/>
                  <a:moveTo>
                    <a:pt x="3333" y="245"/>
                  </a:moveTo>
                  <a:lnTo>
                    <a:pt x="3366" y="234"/>
                  </a:lnTo>
                  <a:lnTo>
                    <a:pt x="3571" y="914"/>
                  </a:lnTo>
                  <a:lnTo>
                    <a:pt x="3333" y="245"/>
                  </a:lnTo>
                  <a:close/>
                  <a:moveTo>
                    <a:pt x="3366" y="234"/>
                  </a:moveTo>
                  <a:lnTo>
                    <a:pt x="3560" y="173"/>
                  </a:lnTo>
                  <a:lnTo>
                    <a:pt x="3970" y="1534"/>
                  </a:lnTo>
                  <a:lnTo>
                    <a:pt x="3776" y="1595"/>
                  </a:lnTo>
                  <a:lnTo>
                    <a:pt x="3366" y="234"/>
                  </a:lnTo>
                  <a:close/>
                  <a:moveTo>
                    <a:pt x="3560" y="173"/>
                  </a:moveTo>
                  <a:lnTo>
                    <a:pt x="3598" y="161"/>
                  </a:lnTo>
                  <a:lnTo>
                    <a:pt x="3765" y="853"/>
                  </a:lnTo>
                  <a:lnTo>
                    <a:pt x="3560" y="173"/>
                  </a:lnTo>
                  <a:close/>
                  <a:moveTo>
                    <a:pt x="3598" y="161"/>
                  </a:moveTo>
                  <a:lnTo>
                    <a:pt x="3796" y="111"/>
                  </a:lnTo>
                  <a:lnTo>
                    <a:pt x="4129" y="1495"/>
                  </a:lnTo>
                  <a:lnTo>
                    <a:pt x="3931" y="1545"/>
                  </a:lnTo>
                  <a:lnTo>
                    <a:pt x="3598" y="161"/>
                  </a:lnTo>
                  <a:close/>
                  <a:moveTo>
                    <a:pt x="3796" y="111"/>
                  </a:moveTo>
                  <a:lnTo>
                    <a:pt x="3828" y="103"/>
                  </a:lnTo>
                  <a:lnTo>
                    <a:pt x="3962" y="803"/>
                  </a:lnTo>
                  <a:lnTo>
                    <a:pt x="3796" y="111"/>
                  </a:lnTo>
                  <a:close/>
                  <a:moveTo>
                    <a:pt x="3828" y="103"/>
                  </a:moveTo>
                  <a:lnTo>
                    <a:pt x="4030" y="63"/>
                  </a:lnTo>
                  <a:lnTo>
                    <a:pt x="4298" y="1463"/>
                  </a:lnTo>
                  <a:lnTo>
                    <a:pt x="4096" y="1504"/>
                  </a:lnTo>
                  <a:lnTo>
                    <a:pt x="3828" y="103"/>
                  </a:lnTo>
                  <a:close/>
                  <a:moveTo>
                    <a:pt x="4030" y="63"/>
                  </a:moveTo>
                  <a:lnTo>
                    <a:pt x="4071" y="57"/>
                  </a:lnTo>
                  <a:lnTo>
                    <a:pt x="4164" y="763"/>
                  </a:lnTo>
                  <a:lnTo>
                    <a:pt x="4030" y="63"/>
                  </a:lnTo>
                  <a:close/>
                  <a:moveTo>
                    <a:pt x="4071" y="57"/>
                  </a:moveTo>
                  <a:lnTo>
                    <a:pt x="4275" y="29"/>
                  </a:lnTo>
                  <a:lnTo>
                    <a:pt x="4461" y="1441"/>
                  </a:lnTo>
                  <a:lnTo>
                    <a:pt x="4257" y="1469"/>
                  </a:lnTo>
                  <a:lnTo>
                    <a:pt x="4071" y="57"/>
                  </a:lnTo>
                  <a:close/>
                  <a:moveTo>
                    <a:pt x="4275" y="29"/>
                  </a:moveTo>
                  <a:lnTo>
                    <a:pt x="4314" y="24"/>
                  </a:lnTo>
                  <a:lnTo>
                    <a:pt x="4368" y="735"/>
                  </a:lnTo>
                  <a:lnTo>
                    <a:pt x="4275" y="29"/>
                  </a:lnTo>
                  <a:close/>
                  <a:moveTo>
                    <a:pt x="4314" y="24"/>
                  </a:moveTo>
                  <a:lnTo>
                    <a:pt x="4521" y="7"/>
                  </a:lnTo>
                  <a:lnTo>
                    <a:pt x="4630" y="1430"/>
                  </a:lnTo>
                  <a:lnTo>
                    <a:pt x="4423" y="1446"/>
                  </a:lnTo>
                  <a:lnTo>
                    <a:pt x="4314" y="24"/>
                  </a:lnTo>
                  <a:close/>
                  <a:moveTo>
                    <a:pt x="4521" y="7"/>
                  </a:moveTo>
                  <a:lnTo>
                    <a:pt x="4557" y="7"/>
                  </a:lnTo>
                  <a:lnTo>
                    <a:pt x="4576" y="718"/>
                  </a:lnTo>
                  <a:lnTo>
                    <a:pt x="4521" y="7"/>
                  </a:lnTo>
                  <a:close/>
                  <a:moveTo>
                    <a:pt x="4557" y="7"/>
                  </a:moveTo>
                  <a:lnTo>
                    <a:pt x="4768" y="0"/>
                  </a:lnTo>
                  <a:lnTo>
                    <a:pt x="4806" y="1422"/>
                  </a:lnTo>
                  <a:lnTo>
                    <a:pt x="4595" y="1430"/>
                  </a:lnTo>
                  <a:lnTo>
                    <a:pt x="4557" y="7"/>
                  </a:lnTo>
                  <a:close/>
                  <a:moveTo>
                    <a:pt x="4768" y="0"/>
                  </a:moveTo>
                  <a:lnTo>
                    <a:pt x="4809" y="0"/>
                  </a:lnTo>
                  <a:lnTo>
                    <a:pt x="4787" y="711"/>
                  </a:lnTo>
                  <a:lnTo>
                    <a:pt x="476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5" name="Freeform 202"/>
            <p:cNvSpPr>
              <a:spLocks noEditPoints="1"/>
            </p:cNvSpPr>
            <p:nvPr/>
          </p:nvSpPr>
          <p:spPr bwMode="auto">
            <a:xfrm>
              <a:off x="1577" y="1813"/>
              <a:ext cx="207" cy="221"/>
            </a:xfrm>
            <a:custGeom>
              <a:avLst/>
              <a:gdLst>
                <a:gd name="T0" fmla="*/ 0 w 8686"/>
                <a:gd name="T1" fmla="*/ 0 h 9499"/>
                <a:gd name="T2" fmla="*/ 0 w 8686"/>
                <a:gd name="T3" fmla="*/ 0 h 9499"/>
                <a:gd name="T4" fmla="*/ 0 w 8686"/>
                <a:gd name="T5" fmla="*/ 0 h 9499"/>
                <a:gd name="T6" fmla="*/ 0 w 8686"/>
                <a:gd name="T7" fmla="*/ 0 h 9499"/>
                <a:gd name="T8" fmla="*/ 0 w 8686"/>
                <a:gd name="T9" fmla="*/ 0 h 9499"/>
                <a:gd name="T10" fmla="*/ 0 w 8686"/>
                <a:gd name="T11" fmla="*/ 0 h 9499"/>
                <a:gd name="T12" fmla="*/ 0 w 8686"/>
                <a:gd name="T13" fmla="*/ 0 h 9499"/>
                <a:gd name="T14" fmla="*/ 0 w 8686"/>
                <a:gd name="T15" fmla="*/ 0 h 9499"/>
                <a:gd name="T16" fmla="*/ 0 w 8686"/>
                <a:gd name="T17" fmla="*/ 0 h 9499"/>
                <a:gd name="T18" fmla="*/ 0 w 8686"/>
                <a:gd name="T19" fmla="*/ 0 h 9499"/>
                <a:gd name="T20" fmla="*/ 0 w 8686"/>
                <a:gd name="T21" fmla="*/ 0 h 9499"/>
                <a:gd name="T22" fmla="*/ 0 w 8686"/>
                <a:gd name="T23" fmla="*/ 0 h 9499"/>
                <a:gd name="T24" fmla="*/ 0 w 8686"/>
                <a:gd name="T25" fmla="*/ 0 h 9499"/>
                <a:gd name="T26" fmla="*/ 0 w 8686"/>
                <a:gd name="T27" fmla="*/ 0 h 9499"/>
                <a:gd name="T28" fmla="*/ 0 w 8686"/>
                <a:gd name="T29" fmla="*/ 0 h 9499"/>
                <a:gd name="T30" fmla="*/ 0 w 8686"/>
                <a:gd name="T31" fmla="*/ 0 h 9499"/>
                <a:gd name="T32" fmla="*/ 0 w 8686"/>
                <a:gd name="T33" fmla="*/ 0 h 9499"/>
                <a:gd name="T34" fmla="*/ 0 w 8686"/>
                <a:gd name="T35" fmla="*/ 0 h 9499"/>
                <a:gd name="T36" fmla="*/ 0 w 8686"/>
                <a:gd name="T37" fmla="*/ 0 h 9499"/>
                <a:gd name="T38" fmla="*/ 0 w 8686"/>
                <a:gd name="T39" fmla="*/ 0 h 9499"/>
                <a:gd name="T40" fmla="*/ 0 w 8686"/>
                <a:gd name="T41" fmla="*/ 0 h 9499"/>
                <a:gd name="T42" fmla="*/ 0 w 8686"/>
                <a:gd name="T43" fmla="*/ 0 h 9499"/>
                <a:gd name="T44" fmla="*/ 0 w 8686"/>
                <a:gd name="T45" fmla="*/ 0 h 9499"/>
                <a:gd name="T46" fmla="*/ 0 w 8686"/>
                <a:gd name="T47" fmla="*/ 0 h 9499"/>
                <a:gd name="T48" fmla="*/ 0 w 8686"/>
                <a:gd name="T49" fmla="*/ 0 h 9499"/>
                <a:gd name="T50" fmla="*/ 0 w 8686"/>
                <a:gd name="T51" fmla="*/ 0 h 9499"/>
                <a:gd name="T52" fmla="*/ 0 w 8686"/>
                <a:gd name="T53" fmla="*/ 0 h 9499"/>
                <a:gd name="T54" fmla="*/ 0 w 8686"/>
                <a:gd name="T55" fmla="*/ 0 h 9499"/>
                <a:gd name="T56" fmla="*/ 0 w 8686"/>
                <a:gd name="T57" fmla="*/ 0 h 9499"/>
                <a:gd name="T58" fmla="*/ 0 w 8686"/>
                <a:gd name="T59" fmla="*/ 0 h 9499"/>
                <a:gd name="T60" fmla="*/ 0 w 8686"/>
                <a:gd name="T61" fmla="*/ 0 h 9499"/>
                <a:gd name="T62" fmla="*/ 0 w 8686"/>
                <a:gd name="T63" fmla="*/ 0 h 9499"/>
                <a:gd name="T64" fmla="*/ 0 w 8686"/>
                <a:gd name="T65" fmla="*/ 0 h 9499"/>
                <a:gd name="T66" fmla="*/ 0 w 8686"/>
                <a:gd name="T67" fmla="*/ 0 h 9499"/>
                <a:gd name="T68" fmla="*/ 0 w 8686"/>
                <a:gd name="T69" fmla="*/ 0 h 9499"/>
                <a:gd name="T70" fmla="*/ 0 w 8686"/>
                <a:gd name="T71" fmla="*/ 0 h 9499"/>
                <a:gd name="T72" fmla="*/ 0 w 8686"/>
                <a:gd name="T73" fmla="*/ 0 h 9499"/>
                <a:gd name="T74" fmla="*/ 0 w 8686"/>
                <a:gd name="T75" fmla="*/ 0 h 9499"/>
                <a:gd name="T76" fmla="*/ 0 w 8686"/>
                <a:gd name="T77" fmla="*/ 0 h 9499"/>
                <a:gd name="T78" fmla="*/ 0 w 8686"/>
                <a:gd name="T79" fmla="*/ 0 h 9499"/>
                <a:gd name="T80" fmla="*/ 0 w 8686"/>
                <a:gd name="T81" fmla="*/ 0 h 9499"/>
                <a:gd name="T82" fmla="*/ 0 w 8686"/>
                <a:gd name="T83" fmla="*/ 0 h 9499"/>
                <a:gd name="T84" fmla="*/ 0 w 8686"/>
                <a:gd name="T85" fmla="*/ 0 h 9499"/>
                <a:gd name="T86" fmla="*/ 0 w 8686"/>
                <a:gd name="T87" fmla="*/ 0 h 9499"/>
                <a:gd name="T88" fmla="*/ 0 w 8686"/>
                <a:gd name="T89" fmla="*/ 0 h 9499"/>
                <a:gd name="T90" fmla="*/ 0 w 8686"/>
                <a:gd name="T91" fmla="*/ 0 h 9499"/>
                <a:gd name="T92" fmla="*/ 0 w 8686"/>
                <a:gd name="T93" fmla="*/ 0 h 9499"/>
                <a:gd name="T94" fmla="*/ 0 w 8686"/>
                <a:gd name="T95" fmla="*/ 0 h 9499"/>
                <a:gd name="T96" fmla="*/ 0 w 8686"/>
                <a:gd name="T97" fmla="*/ 0 h 9499"/>
                <a:gd name="T98" fmla="*/ 0 w 8686"/>
                <a:gd name="T99" fmla="*/ 0 h 9499"/>
                <a:gd name="T100" fmla="*/ 0 w 8686"/>
                <a:gd name="T101" fmla="*/ 0 h 9499"/>
                <a:gd name="T102" fmla="*/ 0 w 8686"/>
                <a:gd name="T103" fmla="*/ 0 h 9499"/>
                <a:gd name="T104" fmla="*/ 0 w 8686"/>
                <a:gd name="T105" fmla="*/ 0 h 9499"/>
                <a:gd name="T106" fmla="*/ 0 w 8686"/>
                <a:gd name="T107" fmla="*/ 0 h 9499"/>
                <a:gd name="T108" fmla="*/ 0 w 8686"/>
                <a:gd name="T109" fmla="*/ 0 h 9499"/>
                <a:gd name="T110" fmla="*/ 0 w 8686"/>
                <a:gd name="T111" fmla="*/ 0 h 9499"/>
                <a:gd name="T112" fmla="*/ 0 w 8686"/>
                <a:gd name="T113" fmla="*/ 0 h 9499"/>
                <a:gd name="T114" fmla="*/ 0 w 8686"/>
                <a:gd name="T115" fmla="*/ 0 h 9499"/>
                <a:gd name="T116" fmla="*/ 0 w 8686"/>
                <a:gd name="T117" fmla="*/ 0 h 9499"/>
                <a:gd name="T118" fmla="*/ 0 w 8686"/>
                <a:gd name="T119" fmla="*/ 0 h 9499"/>
                <a:gd name="T120" fmla="*/ 0 w 8686"/>
                <a:gd name="T121" fmla="*/ 0 h 9499"/>
                <a:gd name="T122" fmla="*/ 0 w 8686"/>
                <a:gd name="T123" fmla="*/ 0 h 9499"/>
                <a:gd name="T124" fmla="*/ 0 w 8686"/>
                <a:gd name="T125" fmla="*/ 0 h 94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686"/>
                <a:gd name="T190" fmla="*/ 0 h 9499"/>
                <a:gd name="T191" fmla="*/ 8686 w 8686"/>
                <a:gd name="T192" fmla="*/ 9499 h 94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686" h="9499">
                  <a:moveTo>
                    <a:pt x="3697" y="3057"/>
                  </a:moveTo>
                  <a:lnTo>
                    <a:pt x="3698" y="3057"/>
                  </a:lnTo>
                  <a:lnTo>
                    <a:pt x="3698" y="3509"/>
                  </a:lnTo>
                  <a:lnTo>
                    <a:pt x="3697" y="3509"/>
                  </a:lnTo>
                  <a:lnTo>
                    <a:pt x="3697" y="3057"/>
                  </a:lnTo>
                  <a:close/>
                  <a:moveTo>
                    <a:pt x="3698" y="3058"/>
                  </a:moveTo>
                  <a:lnTo>
                    <a:pt x="3746" y="3059"/>
                  </a:lnTo>
                  <a:lnTo>
                    <a:pt x="3794" y="3062"/>
                  </a:lnTo>
                  <a:lnTo>
                    <a:pt x="3842" y="3066"/>
                  </a:lnTo>
                  <a:lnTo>
                    <a:pt x="3889" y="3070"/>
                  </a:lnTo>
                  <a:lnTo>
                    <a:pt x="3937" y="3076"/>
                  </a:lnTo>
                  <a:lnTo>
                    <a:pt x="3983" y="3083"/>
                  </a:lnTo>
                  <a:lnTo>
                    <a:pt x="4030" y="3092"/>
                  </a:lnTo>
                  <a:lnTo>
                    <a:pt x="4076" y="3101"/>
                  </a:lnTo>
                  <a:lnTo>
                    <a:pt x="4122" y="3113"/>
                  </a:lnTo>
                  <a:lnTo>
                    <a:pt x="4167" y="3125"/>
                  </a:lnTo>
                  <a:lnTo>
                    <a:pt x="4211" y="3138"/>
                  </a:lnTo>
                  <a:lnTo>
                    <a:pt x="4256" y="3153"/>
                  </a:lnTo>
                  <a:lnTo>
                    <a:pt x="4300" y="3169"/>
                  </a:lnTo>
                  <a:lnTo>
                    <a:pt x="4343" y="3186"/>
                  </a:lnTo>
                  <a:lnTo>
                    <a:pt x="4386" y="3204"/>
                  </a:lnTo>
                  <a:lnTo>
                    <a:pt x="4428" y="3224"/>
                  </a:lnTo>
                  <a:lnTo>
                    <a:pt x="4471" y="3244"/>
                  </a:lnTo>
                  <a:lnTo>
                    <a:pt x="4511" y="3266"/>
                  </a:lnTo>
                  <a:lnTo>
                    <a:pt x="4552" y="3288"/>
                  </a:lnTo>
                  <a:lnTo>
                    <a:pt x="4593" y="3313"/>
                  </a:lnTo>
                  <a:lnTo>
                    <a:pt x="4632" y="3337"/>
                  </a:lnTo>
                  <a:lnTo>
                    <a:pt x="4671" y="3363"/>
                  </a:lnTo>
                  <a:lnTo>
                    <a:pt x="4709" y="3389"/>
                  </a:lnTo>
                  <a:lnTo>
                    <a:pt x="4746" y="3417"/>
                  </a:lnTo>
                  <a:lnTo>
                    <a:pt x="4784" y="3446"/>
                  </a:lnTo>
                  <a:lnTo>
                    <a:pt x="4820" y="3476"/>
                  </a:lnTo>
                  <a:lnTo>
                    <a:pt x="4856" y="3506"/>
                  </a:lnTo>
                  <a:lnTo>
                    <a:pt x="4891" y="3538"/>
                  </a:lnTo>
                  <a:lnTo>
                    <a:pt x="4925" y="3571"/>
                  </a:lnTo>
                  <a:lnTo>
                    <a:pt x="4958" y="3604"/>
                  </a:lnTo>
                  <a:lnTo>
                    <a:pt x="4991" y="3638"/>
                  </a:lnTo>
                  <a:lnTo>
                    <a:pt x="5024" y="3674"/>
                  </a:lnTo>
                  <a:lnTo>
                    <a:pt x="4697" y="3978"/>
                  </a:lnTo>
                  <a:lnTo>
                    <a:pt x="4672" y="3951"/>
                  </a:lnTo>
                  <a:lnTo>
                    <a:pt x="4647" y="3924"/>
                  </a:lnTo>
                  <a:lnTo>
                    <a:pt x="4622" y="3898"/>
                  </a:lnTo>
                  <a:lnTo>
                    <a:pt x="4595" y="3874"/>
                  </a:lnTo>
                  <a:lnTo>
                    <a:pt x="4569" y="3850"/>
                  </a:lnTo>
                  <a:lnTo>
                    <a:pt x="4542" y="3827"/>
                  </a:lnTo>
                  <a:lnTo>
                    <a:pt x="4514" y="3803"/>
                  </a:lnTo>
                  <a:lnTo>
                    <a:pt x="4486" y="3782"/>
                  </a:lnTo>
                  <a:lnTo>
                    <a:pt x="4458" y="3761"/>
                  </a:lnTo>
                  <a:lnTo>
                    <a:pt x="4429" y="3740"/>
                  </a:lnTo>
                  <a:lnTo>
                    <a:pt x="4399" y="3721"/>
                  </a:lnTo>
                  <a:lnTo>
                    <a:pt x="4370" y="3702"/>
                  </a:lnTo>
                  <a:lnTo>
                    <a:pt x="4339" y="3684"/>
                  </a:lnTo>
                  <a:lnTo>
                    <a:pt x="4309" y="3667"/>
                  </a:lnTo>
                  <a:lnTo>
                    <a:pt x="4277" y="3649"/>
                  </a:lnTo>
                  <a:lnTo>
                    <a:pt x="4246" y="3635"/>
                  </a:lnTo>
                  <a:lnTo>
                    <a:pt x="4214" y="3620"/>
                  </a:lnTo>
                  <a:lnTo>
                    <a:pt x="4181" y="3606"/>
                  </a:lnTo>
                  <a:lnTo>
                    <a:pt x="4150" y="3593"/>
                  </a:lnTo>
                  <a:lnTo>
                    <a:pt x="4117" y="3581"/>
                  </a:lnTo>
                  <a:lnTo>
                    <a:pt x="4083" y="3570"/>
                  </a:lnTo>
                  <a:lnTo>
                    <a:pt x="4049" y="3558"/>
                  </a:lnTo>
                  <a:lnTo>
                    <a:pt x="4015" y="3550"/>
                  </a:lnTo>
                  <a:lnTo>
                    <a:pt x="3981" y="3541"/>
                  </a:lnTo>
                  <a:lnTo>
                    <a:pt x="3946" y="3534"/>
                  </a:lnTo>
                  <a:lnTo>
                    <a:pt x="3912" y="3528"/>
                  </a:lnTo>
                  <a:lnTo>
                    <a:pt x="3877" y="3522"/>
                  </a:lnTo>
                  <a:lnTo>
                    <a:pt x="3841" y="3518"/>
                  </a:lnTo>
                  <a:lnTo>
                    <a:pt x="3805" y="3514"/>
                  </a:lnTo>
                  <a:lnTo>
                    <a:pt x="3769" y="3510"/>
                  </a:lnTo>
                  <a:lnTo>
                    <a:pt x="3734" y="3509"/>
                  </a:lnTo>
                  <a:lnTo>
                    <a:pt x="3698" y="3508"/>
                  </a:lnTo>
                  <a:lnTo>
                    <a:pt x="3698" y="3058"/>
                  </a:lnTo>
                  <a:close/>
                  <a:moveTo>
                    <a:pt x="5024" y="3674"/>
                  </a:moveTo>
                  <a:lnTo>
                    <a:pt x="5054" y="3708"/>
                  </a:lnTo>
                  <a:lnTo>
                    <a:pt x="5084" y="3745"/>
                  </a:lnTo>
                  <a:lnTo>
                    <a:pt x="5113" y="3782"/>
                  </a:lnTo>
                  <a:lnTo>
                    <a:pt x="5142" y="3821"/>
                  </a:lnTo>
                  <a:lnTo>
                    <a:pt x="5170" y="3858"/>
                  </a:lnTo>
                  <a:lnTo>
                    <a:pt x="5196" y="3898"/>
                  </a:lnTo>
                  <a:lnTo>
                    <a:pt x="5222" y="3938"/>
                  </a:lnTo>
                  <a:lnTo>
                    <a:pt x="5247" y="3979"/>
                  </a:lnTo>
                  <a:lnTo>
                    <a:pt x="5272" y="4021"/>
                  </a:lnTo>
                  <a:lnTo>
                    <a:pt x="5296" y="4062"/>
                  </a:lnTo>
                  <a:lnTo>
                    <a:pt x="5318" y="4105"/>
                  </a:lnTo>
                  <a:lnTo>
                    <a:pt x="5339" y="4149"/>
                  </a:lnTo>
                  <a:lnTo>
                    <a:pt x="5361" y="4192"/>
                  </a:lnTo>
                  <a:lnTo>
                    <a:pt x="5380" y="4238"/>
                  </a:lnTo>
                  <a:lnTo>
                    <a:pt x="5399" y="4283"/>
                  </a:lnTo>
                  <a:lnTo>
                    <a:pt x="5418" y="4329"/>
                  </a:lnTo>
                  <a:lnTo>
                    <a:pt x="5434" y="4375"/>
                  </a:lnTo>
                  <a:lnTo>
                    <a:pt x="5450" y="4423"/>
                  </a:lnTo>
                  <a:lnTo>
                    <a:pt x="5465" y="4470"/>
                  </a:lnTo>
                  <a:lnTo>
                    <a:pt x="5480" y="4519"/>
                  </a:lnTo>
                  <a:lnTo>
                    <a:pt x="5492" y="4566"/>
                  </a:lnTo>
                  <a:lnTo>
                    <a:pt x="5504" y="4615"/>
                  </a:lnTo>
                  <a:lnTo>
                    <a:pt x="5514" y="4665"/>
                  </a:lnTo>
                  <a:lnTo>
                    <a:pt x="5525" y="4715"/>
                  </a:lnTo>
                  <a:lnTo>
                    <a:pt x="5533" y="4765"/>
                  </a:lnTo>
                  <a:lnTo>
                    <a:pt x="5541" y="4816"/>
                  </a:lnTo>
                  <a:lnTo>
                    <a:pt x="5547" y="4867"/>
                  </a:lnTo>
                  <a:lnTo>
                    <a:pt x="5552" y="4919"/>
                  </a:lnTo>
                  <a:lnTo>
                    <a:pt x="5557" y="4972"/>
                  </a:lnTo>
                  <a:lnTo>
                    <a:pt x="5560" y="5024"/>
                  </a:lnTo>
                  <a:lnTo>
                    <a:pt x="5562" y="5077"/>
                  </a:lnTo>
                  <a:lnTo>
                    <a:pt x="5562" y="5130"/>
                  </a:lnTo>
                  <a:lnTo>
                    <a:pt x="5121" y="5130"/>
                  </a:lnTo>
                  <a:lnTo>
                    <a:pt x="5121" y="5088"/>
                  </a:lnTo>
                  <a:lnTo>
                    <a:pt x="5119" y="5046"/>
                  </a:lnTo>
                  <a:lnTo>
                    <a:pt x="5117" y="5005"/>
                  </a:lnTo>
                  <a:lnTo>
                    <a:pt x="5113" y="4963"/>
                  </a:lnTo>
                  <a:lnTo>
                    <a:pt x="5109" y="4922"/>
                  </a:lnTo>
                  <a:lnTo>
                    <a:pt x="5104" y="4882"/>
                  </a:lnTo>
                  <a:lnTo>
                    <a:pt x="5098" y="4841"/>
                  </a:lnTo>
                  <a:lnTo>
                    <a:pt x="5092" y="4800"/>
                  </a:lnTo>
                  <a:lnTo>
                    <a:pt x="5084" y="4761"/>
                  </a:lnTo>
                  <a:lnTo>
                    <a:pt x="5075" y="4723"/>
                  </a:lnTo>
                  <a:lnTo>
                    <a:pt x="5066" y="4683"/>
                  </a:lnTo>
                  <a:lnTo>
                    <a:pt x="5056" y="4644"/>
                  </a:lnTo>
                  <a:lnTo>
                    <a:pt x="5044" y="4607"/>
                  </a:lnTo>
                  <a:lnTo>
                    <a:pt x="5033" y="4568"/>
                  </a:lnTo>
                  <a:lnTo>
                    <a:pt x="5020" y="4532"/>
                  </a:lnTo>
                  <a:lnTo>
                    <a:pt x="5007" y="4494"/>
                  </a:lnTo>
                  <a:lnTo>
                    <a:pt x="4993" y="4459"/>
                  </a:lnTo>
                  <a:lnTo>
                    <a:pt x="4978" y="4423"/>
                  </a:lnTo>
                  <a:lnTo>
                    <a:pt x="4962" y="4387"/>
                  </a:lnTo>
                  <a:lnTo>
                    <a:pt x="4946" y="4352"/>
                  </a:lnTo>
                  <a:lnTo>
                    <a:pt x="4928" y="4318"/>
                  </a:lnTo>
                  <a:lnTo>
                    <a:pt x="4911" y="4284"/>
                  </a:lnTo>
                  <a:lnTo>
                    <a:pt x="4892" y="4250"/>
                  </a:lnTo>
                  <a:lnTo>
                    <a:pt x="4873" y="4219"/>
                  </a:lnTo>
                  <a:lnTo>
                    <a:pt x="4854" y="4186"/>
                  </a:lnTo>
                  <a:lnTo>
                    <a:pt x="4832" y="4154"/>
                  </a:lnTo>
                  <a:lnTo>
                    <a:pt x="4812" y="4124"/>
                  </a:lnTo>
                  <a:lnTo>
                    <a:pt x="4790" y="4093"/>
                  </a:lnTo>
                  <a:lnTo>
                    <a:pt x="4768" y="4063"/>
                  </a:lnTo>
                  <a:lnTo>
                    <a:pt x="4744" y="4034"/>
                  </a:lnTo>
                  <a:lnTo>
                    <a:pt x="4720" y="4005"/>
                  </a:lnTo>
                  <a:lnTo>
                    <a:pt x="4697" y="3978"/>
                  </a:lnTo>
                  <a:lnTo>
                    <a:pt x="5024" y="3674"/>
                  </a:lnTo>
                  <a:close/>
                  <a:moveTo>
                    <a:pt x="5563" y="5130"/>
                  </a:moveTo>
                  <a:lnTo>
                    <a:pt x="5563" y="5131"/>
                  </a:lnTo>
                  <a:lnTo>
                    <a:pt x="5121" y="5131"/>
                  </a:lnTo>
                  <a:lnTo>
                    <a:pt x="5121" y="5130"/>
                  </a:lnTo>
                  <a:lnTo>
                    <a:pt x="5563" y="5130"/>
                  </a:lnTo>
                  <a:close/>
                  <a:moveTo>
                    <a:pt x="5563" y="5131"/>
                  </a:moveTo>
                  <a:lnTo>
                    <a:pt x="5563" y="5132"/>
                  </a:lnTo>
                  <a:lnTo>
                    <a:pt x="5121" y="5132"/>
                  </a:lnTo>
                  <a:lnTo>
                    <a:pt x="5121" y="5131"/>
                  </a:lnTo>
                  <a:lnTo>
                    <a:pt x="5563" y="5131"/>
                  </a:lnTo>
                  <a:close/>
                  <a:moveTo>
                    <a:pt x="5562" y="5132"/>
                  </a:moveTo>
                  <a:lnTo>
                    <a:pt x="5562" y="5185"/>
                  </a:lnTo>
                  <a:lnTo>
                    <a:pt x="5560" y="5238"/>
                  </a:lnTo>
                  <a:lnTo>
                    <a:pt x="5557" y="5291"/>
                  </a:lnTo>
                  <a:lnTo>
                    <a:pt x="5552" y="5342"/>
                  </a:lnTo>
                  <a:lnTo>
                    <a:pt x="5547" y="5395"/>
                  </a:lnTo>
                  <a:lnTo>
                    <a:pt x="5541" y="5446"/>
                  </a:lnTo>
                  <a:lnTo>
                    <a:pt x="5533" y="5496"/>
                  </a:lnTo>
                  <a:lnTo>
                    <a:pt x="5525" y="5547"/>
                  </a:lnTo>
                  <a:lnTo>
                    <a:pt x="5514" y="5597"/>
                  </a:lnTo>
                  <a:lnTo>
                    <a:pt x="5504" y="5647"/>
                  </a:lnTo>
                  <a:lnTo>
                    <a:pt x="5492" y="5696"/>
                  </a:lnTo>
                  <a:lnTo>
                    <a:pt x="5480" y="5745"/>
                  </a:lnTo>
                  <a:lnTo>
                    <a:pt x="5465" y="5793"/>
                  </a:lnTo>
                  <a:lnTo>
                    <a:pt x="5450" y="5841"/>
                  </a:lnTo>
                  <a:lnTo>
                    <a:pt x="5434" y="5887"/>
                  </a:lnTo>
                  <a:lnTo>
                    <a:pt x="5418" y="5934"/>
                  </a:lnTo>
                  <a:lnTo>
                    <a:pt x="5399" y="5980"/>
                  </a:lnTo>
                  <a:lnTo>
                    <a:pt x="5380" y="6025"/>
                  </a:lnTo>
                  <a:lnTo>
                    <a:pt x="5361" y="6069"/>
                  </a:lnTo>
                  <a:lnTo>
                    <a:pt x="5339" y="6114"/>
                  </a:lnTo>
                  <a:lnTo>
                    <a:pt x="5318" y="6157"/>
                  </a:lnTo>
                  <a:lnTo>
                    <a:pt x="5296" y="6201"/>
                  </a:lnTo>
                  <a:lnTo>
                    <a:pt x="5272" y="6243"/>
                  </a:lnTo>
                  <a:lnTo>
                    <a:pt x="5247" y="6284"/>
                  </a:lnTo>
                  <a:lnTo>
                    <a:pt x="5222" y="6325"/>
                  </a:lnTo>
                  <a:lnTo>
                    <a:pt x="5196" y="6365"/>
                  </a:lnTo>
                  <a:lnTo>
                    <a:pt x="5169" y="6404"/>
                  </a:lnTo>
                  <a:lnTo>
                    <a:pt x="5142" y="6443"/>
                  </a:lnTo>
                  <a:lnTo>
                    <a:pt x="5113" y="6482"/>
                  </a:lnTo>
                  <a:lnTo>
                    <a:pt x="5084" y="6517"/>
                  </a:lnTo>
                  <a:lnTo>
                    <a:pt x="5054" y="6554"/>
                  </a:lnTo>
                  <a:lnTo>
                    <a:pt x="5023" y="6590"/>
                  </a:lnTo>
                  <a:lnTo>
                    <a:pt x="4696" y="6286"/>
                  </a:lnTo>
                  <a:lnTo>
                    <a:pt x="4720" y="6258"/>
                  </a:lnTo>
                  <a:lnTo>
                    <a:pt x="4744" y="6230"/>
                  </a:lnTo>
                  <a:lnTo>
                    <a:pt x="4767" y="6200"/>
                  </a:lnTo>
                  <a:lnTo>
                    <a:pt x="4790" y="6170"/>
                  </a:lnTo>
                  <a:lnTo>
                    <a:pt x="4811" y="6140"/>
                  </a:lnTo>
                  <a:lnTo>
                    <a:pt x="4832" y="6109"/>
                  </a:lnTo>
                  <a:lnTo>
                    <a:pt x="4853" y="6077"/>
                  </a:lnTo>
                  <a:lnTo>
                    <a:pt x="4873" y="6045"/>
                  </a:lnTo>
                  <a:lnTo>
                    <a:pt x="4892" y="6012"/>
                  </a:lnTo>
                  <a:lnTo>
                    <a:pt x="4911" y="5979"/>
                  </a:lnTo>
                  <a:lnTo>
                    <a:pt x="4928" y="5945"/>
                  </a:lnTo>
                  <a:lnTo>
                    <a:pt x="4946" y="5910"/>
                  </a:lnTo>
                  <a:lnTo>
                    <a:pt x="4962" y="5875"/>
                  </a:lnTo>
                  <a:lnTo>
                    <a:pt x="4978" y="5840"/>
                  </a:lnTo>
                  <a:lnTo>
                    <a:pt x="4993" y="5804"/>
                  </a:lnTo>
                  <a:lnTo>
                    <a:pt x="5007" y="5767"/>
                  </a:lnTo>
                  <a:lnTo>
                    <a:pt x="5020" y="5732"/>
                  </a:lnTo>
                  <a:lnTo>
                    <a:pt x="5033" y="5694"/>
                  </a:lnTo>
                  <a:lnTo>
                    <a:pt x="5044" y="5656"/>
                  </a:lnTo>
                  <a:lnTo>
                    <a:pt x="5056" y="5617"/>
                  </a:lnTo>
                  <a:lnTo>
                    <a:pt x="5066" y="5580"/>
                  </a:lnTo>
                  <a:lnTo>
                    <a:pt x="5075" y="5541"/>
                  </a:lnTo>
                  <a:lnTo>
                    <a:pt x="5084" y="5501"/>
                  </a:lnTo>
                  <a:lnTo>
                    <a:pt x="5092" y="5461"/>
                  </a:lnTo>
                  <a:lnTo>
                    <a:pt x="5098" y="5421"/>
                  </a:lnTo>
                  <a:lnTo>
                    <a:pt x="5104" y="5381"/>
                  </a:lnTo>
                  <a:lnTo>
                    <a:pt x="5109" y="5340"/>
                  </a:lnTo>
                  <a:lnTo>
                    <a:pt x="5114" y="5299"/>
                  </a:lnTo>
                  <a:lnTo>
                    <a:pt x="5117" y="5258"/>
                  </a:lnTo>
                  <a:lnTo>
                    <a:pt x="5119" y="5215"/>
                  </a:lnTo>
                  <a:lnTo>
                    <a:pt x="5121" y="5175"/>
                  </a:lnTo>
                  <a:lnTo>
                    <a:pt x="5121" y="5132"/>
                  </a:lnTo>
                  <a:lnTo>
                    <a:pt x="5562" y="5132"/>
                  </a:lnTo>
                  <a:close/>
                  <a:moveTo>
                    <a:pt x="5023" y="6590"/>
                  </a:moveTo>
                  <a:lnTo>
                    <a:pt x="4991" y="6625"/>
                  </a:lnTo>
                  <a:lnTo>
                    <a:pt x="4958" y="6659"/>
                  </a:lnTo>
                  <a:lnTo>
                    <a:pt x="4924" y="6693"/>
                  </a:lnTo>
                  <a:lnTo>
                    <a:pt x="4891" y="6725"/>
                  </a:lnTo>
                  <a:lnTo>
                    <a:pt x="4856" y="6756"/>
                  </a:lnTo>
                  <a:lnTo>
                    <a:pt x="4820" y="6787"/>
                  </a:lnTo>
                  <a:lnTo>
                    <a:pt x="4783" y="6816"/>
                  </a:lnTo>
                  <a:lnTo>
                    <a:pt x="4746" y="6846"/>
                  </a:lnTo>
                  <a:lnTo>
                    <a:pt x="4709" y="6873"/>
                  </a:lnTo>
                  <a:lnTo>
                    <a:pt x="4671" y="6901"/>
                  </a:lnTo>
                  <a:lnTo>
                    <a:pt x="4631" y="6926"/>
                  </a:lnTo>
                  <a:lnTo>
                    <a:pt x="4593" y="6951"/>
                  </a:lnTo>
                  <a:lnTo>
                    <a:pt x="4552" y="6974"/>
                  </a:lnTo>
                  <a:lnTo>
                    <a:pt x="4511" y="6997"/>
                  </a:lnTo>
                  <a:lnTo>
                    <a:pt x="4471" y="7018"/>
                  </a:lnTo>
                  <a:lnTo>
                    <a:pt x="4428" y="7039"/>
                  </a:lnTo>
                  <a:lnTo>
                    <a:pt x="4386" y="7059"/>
                  </a:lnTo>
                  <a:lnTo>
                    <a:pt x="4343" y="7076"/>
                  </a:lnTo>
                  <a:lnTo>
                    <a:pt x="4300" y="7094"/>
                  </a:lnTo>
                  <a:lnTo>
                    <a:pt x="4256" y="7110"/>
                  </a:lnTo>
                  <a:lnTo>
                    <a:pt x="4211" y="7124"/>
                  </a:lnTo>
                  <a:lnTo>
                    <a:pt x="4167" y="7138"/>
                  </a:lnTo>
                  <a:lnTo>
                    <a:pt x="4122" y="7150"/>
                  </a:lnTo>
                  <a:lnTo>
                    <a:pt x="4076" y="7161"/>
                  </a:lnTo>
                  <a:lnTo>
                    <a:pt x="4031" y="7171"/>
                  </a:lnTo>
                  <a:lnTo>
                    <a:pt x="3984" y="7180"/>
                  </a:lnTo>
                  <a:lnTo>
                    <a:pt x="3937" y="7187"/>
                  </a:lnTo>
                  <a:lnTo>
                    <a:pt x="3890" y="7193"/>
                  </a:lnTo>
                  <a:lnTo>
                    <a:pt x="3842" y="7198"/>
                  </a:lnTo>
                  <a:lnTo>
                    <a:pt x="3794" y="7201"/>
                  </a:lnTo>
                  <a:lnTo>
                    <a:pt x="3746" y="7204"/>
                  </a:lnTo>
                  <a:lnTo>
                    <a:pt x="3698" y="7204"/>
                  </a:lnTo>
                  <a:lnTo>
                    <a:pt x="3698" y="6754"/>
                  </a:lnTo>
                  <a:lnTo>
                    <a:pt x="3735" y="6754"/>
                  </a:lnTo>
                  <a:lnTo>
                    <a:pt x="3770" y="6752"/>
                  </a:lnTo>
                  <a:lnTo>
                    <a:pt x="3806" y="6750"/>
                  </a:lnTo>
                  <a:lnTo>
                    <a:pt x="3842" y="6746"/>
                  </a:lnTo>
                  <a:lnTo>
                    <a:pt x="3877" y="6741"/>
                  </a:lnTo>
                  <a:lnTo>
                    <a:pt x="3912" y="6736"/>
                  </a:lnTo>
                  <a:lnTo>
                    <a:pt x="3946" y="6728"/>
                  </a:lnTo>
                  <a:lnTo>
                    <a:pt x="3981" y="6721"/>
                  </a:lnTo>
                  <a:lnTo>
                    <a:pt x="4015" y="6713"/>
                  </a:lnTo>
                  <a:lnTo>
                    <a:pt x="4050" y="6703"/>
                  </a:lnTo>
                  <a:lnTo>
                    <a:pt x="4083" y="6694"/>
                  </a:lnTo>
                  <a:lnTo>
                    <a:pt x="4117" y="6682"/>
                  </a:lnTo>
                  <a:lnTo>
                    <a:pt x="4150" y="6669"/>
                  </a:lnTo>
                  <a:lnTo>
                    <a:pt x="4181" y="6657"/>
                  </a:lnTo>
                  <a:lnTo>
                    <a:pt x="4214" y="6643"/>
                  </a:lnTo>
                  <a:lnTo>
                    <a:pt x="4246" y="6628"/>
                  </a:lnTo>
                  <a:lnTo>
                    <a:pt x="4277" y="6612"/>
                  </a:lnTo>
                  <a:lnTo>
                    <a:pt x="4308" y="6597"/>
                  </a:lnTo>
                  <a:lnTo>
                    <a:pt x="4339" y="6578"/>
                  </a:lnTo>
                  <a:lnTo>
                    <a:pt x="4369" y="6561"/>
                  </a:lnTo>
                  <a:lnTo>
                    <a:pt x="4399" y="6543"/>
                  </a:lnTo>
                  <a:lnTo>
                    <a:pt x="4429" y="6522"/>
                  </a:lnTo>
                  <a:lnTo>
                    <a:pt x="4457" y="6502"/>
                  </a:lnTo>
                  <a:lnTo>
                    <a:pt x="4486" y="6482"/>
                  </a:lnTo>
                  <a:lnTo>
                    <a:pt x="4514" y="6459"/>
                  </a:lnTo>
                  <a:lnTo>
                    <a:pt x="4541" y="6437"/>
                  </a:lnTo>
                  <a:lnTo>
                    <a:pt x="4568" y="6413"/>
                  </a:lnTo>
                  <a:lnTo>
                    <a:pt x="4595" y="6390"/>
                  </a:lnTo>
                  <a:lnTo>
                    <a:pt x="4622" y="6365"/>
                  </a:lnTo>
                  <a:lnTo>
                    <a:pt x="4647" y="6339"/>
                  </a:lnTo>
                  <a:lnTo>
                    <a:pt x="4672" y="6312"/>
                  </a:lnTo>
                  <a:lnTo>
                    <a:pt x="4696" y="6286"/>
                  </a:lnTo>
                  <a:lnTo>
                    <a:pt x="5023" y="6590"/>
                  </a:lnTo>
                  <a:close/>
                  <a:moveTo>
                    <a:pt x="3698" y="7205"/>
                  </a:moveTo>
                  <a:lnTo>
                    <a:pt x="3697" y="7205"/>
                  </a:lnTo>
                  <a:lnTo>
                    <a:pt x="3697" y="6753"/>
                  </a:lnTo>
                  <a:lnTo>
                    <a:pt x="3698" y="6753"/>
                  </a:lnTo>
                  <a:lnTo>
                    <a:pt x="3698" y="7205"/>
                  </a:lnTo>
                  <a:close/>
                  <a:moveTo>
                    <a:pt x="3697" y="7205"/>
                  </a:moveTo>
                  <a:lnTo>
                    <a:pt x="3696" y="7205"/>
                  </a:lnTo>
                  <a:lnTo>
                    <a:pt x="3696" y="6753"/>
                  </a:lnTo>
                  <a:lnTo>
                    <a:pt x="3697" y="6753"/>
                  </a:lnTo>
                  <a:lnTo>
                    <a:pt x="3697" y="7205"/>
                  </a:lnTo>
                  <a:close/>
                  <a:moveTo>
                    <a:pt x="3696" y="7204"/>
                  </a:moveTo>
                  <a:lnTo>
                    <a:pt x="3648" y="7204"/>
                  </a:lnTo>
                  <a:lnTo>
                    <a:pt x="3599" y="7201"/>
                  </a:lnTo>
                  <a:lnTo>
                    <a:pt x="3551" y="7198"/>
                  </a:lnTo>
                  <a:lnTo>
                    <a:pt x="3503" y="7193"/>
                  </a:lnTo>
                  <a:lnTo>
                    <a:pt x="3456" y="7187"/>
                  </a:lnTo>
                  <a:lnTo>
                    <a:pt x="3410" y="7180"/>
                  </a:lnTo>
                  <a:lnTo>
                    <a:pt x="3363" y="7171"/>
                  </a:lnTo>
                  <a:lnTo>
                    <a:pt x="3317" y="7161"/>
                  </a:lnTo>
                  <a:lnTo>
                    <a:pt x="3271" y="7150"/>
                  </a:lnTo>
                  <a:lnTo>
                    <a:pt x="3226" y="7138"/>
                  </a:lnTo>
                  <a:lnTo>
                    <a:pt x="3181" y="7123"/>
                  </a:lnTo>
                  <a:lnTo>
                    <a:pt x="3137" y="7109"/>
                  </a:lnTo>
                  <a:lnTo>
                    <a:pt x="3093" y="7093"/>
                  </a:lnTo>
                  <a:lnTo>
                    <a:pt x="3050" y="7076"/>
                  </a:lnTo>
                  <a:lnTo>
                    <a:pt x="3007" y="7059"/>
                  </a:lnTo>
                  <a:lnTo>
                    <a:pt x="2964" y="7039"/>
                  </a:lnTo>
                  <a:lnTo>
                    <a:pt x="2923" y="7018"/>
                  </a:lnTo>
                  <a:lnTo>
                    <a:pt x="2881" y="6997"/>
                  </a:lnTo>
                  <a:lnTo>
                    <a:pt x="2841" y="6974"/>
                  </a:lnTo>
                  <a:lnTo>
                    <a:pt x="2801" y="6950"/>
                  </a:lnTo>
                  <a:lnTo>
                    <a:pt x="2761" y="6925"/>
                  </a:lnTo>
                  <a:lnTo>
                    <a:pt x="2722" y="6900"/>
                  </a:lnTo>
                  <a:lnTo>
                    <a:pt x="2684" y="6873"/>
                  </a:lnTo>
                  <a:lnTo>
                    <a:pt x="2646" y="6846"/>
                  </a:lnTo>
                  <a:lnTo>
                    <a:pt x="2610" y="6816"/>
                  </a:lnTo>
                  <a:lnTo>
                    <a:pt x="2573" y="6787"/>
                  </a:lnTo>
                  <a:lnTo>
                    <a:pt x="2537" y="6756"/>
                  </a:lnTo>
                  <a:lnTo>
                    <a:pt x="2502" y="6725"/>
                  </a:lnTo>
                  <a:lnTo>
                    <a:pt x="2468" y="6693"/>
                  </a:lnTo>
                  <a:lnTo>
                    <a:pt x="2435" y="6659"/>
                  </a:lnTo>
                  <a:lnTo>
                    <a:pt x="2402" y="6624"/>
                  </a:lnTo>
                  <a:lnTo>
                    <a:pt x="2370" y="6589"/>
                  </a:lnTo>
                  <a:lnTo>
                    <a:pt x="2697" y="6286"/>
                  </a:lnTo>
                  <a:lnTo>
                    <a:pt x="2721" y="6312"/>
                  </a:lnTo>
                  <a:lnTo>
                    <a:pt x="2746" y="6338"/>
                  </a:lnTo>
                  <a:lnTo>
                    <a:pt x="2771" y="6363"/>
                  </a:lnTo>
                  <a:lnTo>
                    <a:pt x="2797" y="6389"/>
                  </a:lnTo>
                  <a:lnTo>
                    <a:pt x="2824" y="6413"/>
                  </a:lnTo>
                  <a:lnTo>
                    <a:pt x="2851" y="6436"/>
                  </a:lnTo>
                  <a:lnTo>
                    <a:pt x="2878" y="6458"/>
                  </a:lnTo>
                  <a:lnTo>
                    <a:pt x="2906" y="6481"/>
                  </a:lnTo>
                  <a:lnTo>
                    <a:pt x="2936" y="6502"/>
                  </a:lnTo>
                  <a:lnTo>
                    <a:pt x="2964" y="6522"/>
                  </a:lnTo>
                  <a:lnTo>
                    <a:pt x="2994" y="6543"/>
                  </a:lnTo>
                  <a:lnTo>
                    <a:pt x="3024" y="6561"/>
                  </a:lnTo>
                  <a:lnTo>
                    <a:pt x="3054" y="6578"/>
                  </a:lnTo>
                  <a:lnTo>
                    <a:pt x="3084" y="6596"/>
                  </a:lnTo>
                  <a:lnTo>
                    <a:pt x="3115" y="6612"/>
                  </a:lnTo>
                  <a:lnTo>
                    <a:pt x="3148" y="6628"/>
                  </a:lnTo>
                  <a:lnTo>
                    <a:pt x="3179" y="6643"/>
                  </a:lnTo>
                  <a:lnTo>
                    <a:pt x="3211" y="6657"/>
                  </a:lnTo>
                  <a:lnTo>
                    <a:pt x="3244" y="6669"/>
                  </a:lnTo>
                  <a:lnTo>
                    <a:pt x="3277" y="6682"/>
                  </a:lnTo>
                  <a:lnTo>
                    <a:pt x="3310" y="6694"/>
                  </a:lnTo>
                  <a:lnTo>
                    <a:pt x="3344" y="6703"/>
                  </a:lnTo>
                  <a:lnTo>
                    <a:pt x="3378" y="6713"/>
                  </a:lnTo>
                  <a:lnTo>
                    <a:pt x="3412" y="6721"/>
                  </a:lnTo>
                  <a:lnTo>
                    <a:pt x="3446" y="6728"/>
                  </a:lnTo>
                  <a:lnTo>
                    <a:pt x="3481" y="6736"/>
                  </a:lnTo>
                  <a:lnTo>
                    <a:pt x="3517" y="6741"/>
                  </a:lnTo>
                  <a:lnTo>
                    <a:pt x="3552" y="6746"/>
                  </a:lnTo>
                  <a:lnTo>
                    <a:pt x="3587" y="6750"/>
                  </a:lnTo>
                  <a:lnTo>
                    <a:pt x="3623" y="6752"/>
                  </a:lnTo>
                  <a:lnTo>
                    <a:pt x="3660" y="6754"/>
                  </a:lnTo>
                  <a:lnTo>
                    <a:pt x="3696" y="6754"/>
                  </a:lnTo>
                  <a:lnTo>
                    <a:pt x="3696" y="7204"/>
                  </a:lnTo>
                  <a:close/>
                  <a:moveTo>
                    <a:pt x="2370" y="6589"/>
                  </a:moveTo>
                  <a:lnTo>
                    <a:pt x="2339" y="6553"/>
                  </a:lnTo>
                  <a:lnTo>
                    <a:pt x="2309" y="6517"/>
                  </a:lnTo>
                  <a:lnTo>
                    <a:pt x="2280" y="6481"/>
                  </a:lnTo>
                  <a:lnTo>
                    <a:pt x="2251" y="6443"/>
                  </a:lnTo>
                  <a:lnTo>
                    <a:pt x="2224" y="6404"/>
                  </a:lnTo>
                  <a:lnTo>
                    <a:pt x="2196" y="6365"/>
                  </a:lnTo>
                  <a:lnTo>
                    <a:pt x="2170" y="6324"/>
                  </a:lnTo>
                  <a:lnTo>
                    <a:pt x="2145" y="6284"/>
                  </a:lnTo>
                  <a:lnTo>
                    <a:pt x="2121" y="6243"/>
                  </a:lnTo>
                  <a:lnTo>
                    <a:pt x="2097" y="6200"/>
                  </a:lnTo>
                  <a:lnTo>
                    <a:pt x="2075" y="6157"/>
                  </a:lnTo>
                  <a:lnTo>
                    <a:pt x="2053" y="6114"/>
                  </a:lnTo>
                  <a:lnTo>
                    <a:pt x="2032" y="6069"/>
                  </a:lnTo>
                  <a:lnTo>
                    <a:pt x="2013" y="6025"/>
                  </a:lnTo>
                  <a:lnTo>
                    <a:pt x="1993" y="5980"/>
                  </a:lnTo>
                  <a:lnTo>
                    <a:pt x="1976" y="5934"/>
                  </a:lnTo>
                  <a:lnTo>
                    <a:pt x="1959" y="5887"/>
                  </a:lnTo>
                  <a:lnTo>
                    <a:pt x="1943" y="5841"/>
                  </a:lnTo>
                  <a:lnTo>
                    <a:pt x="1928" y="5793"/>
                  </a:lnTo>
                  <a:lnTo>
                    <a:pt x="1914" y="5745"/>
                  </a:lnTo>
                  <a:lnTo>
                    <a:pt x="1901" y="5697"/>
                  </a:lnTo>
                  <a:lnTo>
                    <a:pt x="1889" y="5647"/>
                  </a:lnTo>
                  <a:lnTo>
                    <a:pt x="1878" y="5598"/>
                  </a:lnTo>
                  <a:lnTo>
                    <a:pt x="1869" y="5548"/>
                  </a:lnTo>
                  <a:lnTo>
                    <a:pt x="1860" y="5497"/>
                  </a:lnTo>
                  <a:lnTo>
                    <a:pt x="1852" y="5446"/>
                  </a:lnTo>
                  <a:lnTo>
                    <a:pt x="1845" y="5395"/>
                  </a:lnTo>
                  <a:lnTo>
                    <a:pt x="1841" y="5343"/>
                  </a:lnTo>
                  <a:lnTo>
                    <a:pt x="1837" y="5291"/>
                  </a:lnTo>
                  <a:lnTo>
                    <a:pt x="1834" y="5239"/>
                  </a:lnTo>
                  <a:lnTo>
                    <a:pt x="1832" y="5186"/>
                  </a:lnTo>
                  <a:lnTo>
                    <a:pt x="1831" y="5133"/>
                  </a:lnTo>
                  <a:lnTo>
                    <a:pt x="2272" y="5133"/>
                  </a:lnTo>
                  <a:lnTo>
                    <a:pt x="2273" y="5176"/>
                  </a:lnTo>
                  <a:lnTo>
                    <a:pt x="2274" y="5216"/>
                  </a:lnTo>
                  <a:lnTo>
                    <a:pt x="2276" y="5258"/>
                  </a:lnTo>
                  <a:lnTo>
                    <a:pt x="2280" y="5300"/>
                  </a:lnTo>
                  <a:lnTo>
                    <a:pt x="2284" y="5341"/>
                  </a:lnTo>
                  <a:lnTo>
                    <a:pt x="2288" y="5382"/>
                  </a:lnTo>
                  <a:lnTo>
                    <a:pt x="2294" y="5422"/>
                  </a:lnTo>
                  <a:lnTo>
                    <a:pt x="2302" y="5461"/>
                  </a:lnTo>
                  <a:lnTo>
                    <a:pt x="2309" y="5501"/>
                  </a:lnTo>
                  <a:lnTo>
                    <a:pt x="2318" y="5541"/>
                  </a:lnTo>
                  <a:lnTo>
                    <a:pt x="2327" y="5581"/>
                  </a:lnTo>
                  <a:lnTo>
                    <a:pt x="2338" y="5617"/>
                  </a:lnTo>
                  <a:lnTo>
                    <a:pt x="2348" y="5656"/>
                  </a:lnTo>
                  <a:lnTo>
                    <a:pt x="2360" y="5694"/>
                  </a:lnTo>
                  <a:lnTo>
                    <a:pt x="2373" y="5732"/>
                  </a:lnTo>
                  <a:lnTo>
                    <a:pt x="2386" y="5767"/>
                  </a:lnTo>
                  <a:lnTo>
                    <a:pt x="2401" y="5804"/>
                  </a:lnTo>
                  <a:lnTo>
                    <a:pt x="2415" y="5840"/>
                  </a:lnTo>
                  <a:lnTo>
                    <a:pt x="2431" y="5875"/>
                  </a:lnTo>
                  <a:lnTo>
                    <a:pt x="2447" y="5910"/>
                  </a:lnTo>
                  <a:lnTo>
                    <a:pt x="2465" y="5945"/>
                  </a:lnTo>
                  <a:lnTo>
                    <a:pt x="2482" y="5979"/>
                  </a:lnTo>
                  <a:lnTo>
                    <a:pt x="2500" y="6012"/>
                  </a:lnTo>
                  <a:lnTo>
                    <a:pt x="2520" y="6045"/>
                  </a:lnTo>
                  <a:lnTo>
                    <a:pt x="2540" y="6076"/>
                  </a:lnTo>
                  <a:lnTo>
                    <a:pt x="2560" y="6108"/>
                  </a:lnTo>
                  <a:lnTo>
                    <a:pt x="2582" y="6140"/>
                  </a:lnTo>
                  <a:lnTo>
                    <a:pt x="2603" y="6170"/>
                  </a:lnTo>
                  <a:lnTo>
                    <a:pt x="2625" y="6200"/>
                  </a:lnTo>
                  <a:lnTo>
                    <a:pt x="2648" y="6230"/>
                  </a:lnTo>
                  <a:lnTo>
                    <a:pt x="2673" y="6257"/>
                  </a:lnTo>
                  <a:lnTo>
                    <a:pt x="2697" y="6286"/>
                  </a:lnTo>
                  <a:lnTo>
                    <a:pt x="2370" y="6589"/>
                  </a:lnTo>
                  <a:close/>
                  <a:moveTo>
                    <a:pt x="1830" y="5133"/>
                  </a:moveTo>
                  <a:lnTo>
                    <a:pt x="1830" y="5131"/>
                  </a:lnTo>
                  <a:lnTo>
                    <a:pt x="2273" y="5131"/>
                  </a:lnTo>
                  <a:lnTo>
                    <a:pt x="2273" y="5133"/>
                  </a:lnTo>
                  <a:lnTo>
                    <a:pt x="1830" y="5133"/>
                  </a:lnTo>
                  <a:close/>
                  <a:moveTo>
                    <a:pt x="1830" y="5131"/>
                  </a:moveTo>
                  <a:lnTo>
                    <a:pt x="1830" y="5130"/>
                  </a:lnTo>
                  <a:lnTo>
                    <a:pt x="2273" y="5130"/>
                  </a:lnTo>
                  <a:lnTo>
                    <a:pt x="2273" y="5131"/>
                  </a:lnTo>
                  <a:lnTo>
                    <a:pt x="1830" y="5131"/>
                  </a:lnTo>
                  <a:close/>
                  <a:moveTo>
                    <a:pt x="1831" y="5130"/>
                  </a:moveTo>
                  <a:lnTo>
                    <a:pt x="1832" y="5078"/>
                  </a:lnTo>
                  <a:lnTo>
                    <a:pt x="1834" y="5025"/>
                  </a:lnTo>
                  <a:lnTo>
                    <a:pt x="1837" y="4973"/>
                  </a:lnTo>
                  <a:lnTo>
                    <a:pt x="1841" y="4919"/>
                  </a:lnTo>
                  <a:lnTo>
                    <a:pt x="1845" y="4868"/>
                  </a:lnTo>
                  <a:lnTo>
                    <a:pt x="1852" y="4817"/>
                  </a:lnTo>
                  <a:lnTo>
                    <a:pt x="1860" y="4765"/>
                  </a:lnTo>
                  <a:lnTo>
                    <a:pt x="1869" y="4715"/>
                  </a:lnTo>
                  <a:lnTo>
                    <a:pt x="1878" y="4665"/>
                  </a:lnTo>
                  <a:lnTo>
                    <a:pt x="1889" y="4615"/>
                  </a:lnTo>
                  <a:lnTo>
                    <a:pt x="1901" y="4566"/>
                  </a:lnTo>
                  <a:lnTo>
                    <a:pt x="1914" y="4519"/>
                  </a:lnTo>
                  <a:lnTo>
                    <a:pt x="1928" y="4470"/>
                  </a:lnTo>
                  <a:lnTo>
                    <a:pt x="1943" y="4423"/>
                  </a:lnTo>
                  <a:lnTo>
                    <a:pt x="1959" y="4375"/>
                  </a:lnTo>
                  <a:lnTo>
                    <a:pt x="1976" y="4329"/>
                  </a:lnTo>
                  <a:lnTo>
                    <a:pt x="1993" y="4283"/>
                  </a:lnTo>
                  <a:lnTo>
                    <a:pt x="2013" y="4238"/>
                  </a:lnTo>
                  <a:lnTo>
                    <a:pt x="2032" y="4192"/>
                  </a:lnTo>
                  <a:lnTo>
                    <a:pt x="2053" y="4148"/>
                  </a:lnTo>
                  <a:lnTo>
                    <a:pt x="2075" y="4104"/>
                  </a:lnTo>
                  <a:lnTo>
                    <a:pt x="2098" y="4062"/>
                  </a:lnTo>
                  <a:lnTo>
                    <a:pt x="2121" y="4020"/>
                  </a:lnTo>
                  <a:lnTo>
                    <a:pt x="2145" y="3979"/>
                  </a:lnTo>
                  <a:lnTo>
                    <a:pt x="2170" y="3938"/>
                  </a:lnTo>
                  <a:lnTo>
                    <a:pt x="2196" y="3897"/>
                  </a:lnTo>
                  <a:lnTo>
                    <a:pt x="2224" y="3857"/>
                  </a:lnTo>
                  <a:lnTo>
                    <a:pt x="2252" y="3820"/>
                  </a:lnTo>
                  <a:lnTo>
                    <a:pt x="2280" y="3782"/>
                  </a:lnTo>
                  <a:lnTo>
                    <a:pt x="2309" y="3744"/>
                  </a:lnTo>
                  <a:lnTo>
                    <a:pt x="2340" y="3708"/>
                  </a:lnTo>
                  <a:lnTo>
                    <a:pt x="2371" y="3673"/>
                  </a:lnTo>
                  <a:lnTo>
                    <a:pt x="2698" y="3977"/>
                  </a:lnTo>
                  <a:lnTo>
                    <a:pt x="2673" y="4005"/>
                  </a:lnTo>
                  <a:lnTo>
                    <a:pt x="2649" y="4033"/>
                  </a:lnTo>
                  <a:lnTo>
                    <a:pt x="2626" y="4062"/>
                  </a:lnTo>
                  <a:lnTo>
                    <a:pt x="2604" y="4092"/>
                  </a:lnTo>
                  <a:lnTo>
                    <a:pt x="2582" y="4123"/>
                  </a:lnTo>
                  <a:lnTo>
                    <a:pt x="2560" y="4154"/>
                  </a:lnTo>
                  <a:lnTo>
                    <a:pt x="2540" y="4186"/>
                  </a:lnTo>
                  <a:lnTo>
                    <a:pt x="2520" y="4218"/>
                  </a:lnTo>
                  <a:lnTo>
                    <a:pt x="2500" y="4250"/>
                  </a:lnTo>
                  <a:lnTo>
                    <a:pt x="2482" y="4284"/>
                  </a:lnTo>
                  <a:lnTo>
                    <a:pt x="2465" y="4318"/>
                  </a:lnTo>
                  <a:lnTo>
                    <a:pt x="2447" y="4352"/>
                  </a:lnTo>
                  <a:lnTo>
                    <a:pt x="2431" y="4387"/>
                  </a:lnTo>
                  <a:lnTo>
                    <a:pt x="2415" y="4423"/>
                  </a:lnTo>
                  <a:lnTo>
                    <a:pt x="2401" y="4458"/>
                  </a:lnTo>
                  <a:lnTo>
                    <a:pt x="2386" y="4494"/>
                  </a:lnTo>
                  <a:lnTo>
                    <a:pt x="2373" y="4532"/>
                  </a:lnTo>
                  <a:lnTo>
                    <a:pt x="2360" y="4568"/>
                  </a:lnTo>
                  <a:lnTo>
                    <a:pt x="2348" y="4607"/>
                  </a:lnTo>
                  <a:lnTo>
                    <a:pt x="2337" y="4644"/>
                  </a:lnTo>
                  <a:lnTo>
                    <a:pt x="2327" y="4683"/>
                  </a:lnTo>
                  <a:lnTo>
                    <a:pt x="2318" y="4723"/>
                  </a:lnTo>
                  <a:lnTo>
                    <a:pt x="2309" y="4762"/>
                  </a:lnTo>
                  <a:lnTo>
                    <a:pt x="2302" y="4801"/>
                  </a:lnTo>
                  <a:lnTo>
                    <a:pt x="2294" y="4842"/>
                  </a:lnTo>
                  <a:lnTo>
                    <a:pt x="2288" y="4882"/>
                  </a:lnTo>
                  <a:lnTo>
                    <a:pt x="2284" y="4923"/>
                  </a:lnTo>
                  <a:lnTo>
                    <a:pt x="2280" y="4963"/>
                  </a:lnTo>
                  <a:lnTo>
                    <a:pt x="2276" y="5005"/>
                  </a:lnTo>
                  <a:lnTo>
                    <a:pt x="2274" y="5046"/>
                  </a:lnTo>
                  <a:lnTo>
                    <a:pt x="2273" y="5089"/>
                  </a:lnTo>
                  <a:lnTo>
                    <a:pt x="2272" y="5130"/>
                  </a:lnTo>
                  <a:lnTo>
                    <a:pt x="1831" y="5130"/>
                  </a:lnTo>
                  <a:close/>
                  <a:moveTo>
                    <a:pt x="2371" y="3673"/>
                  </a:moveTo>
                  <a:lnTo>
                    <a:pt x="2403" y="3638"/>
                  </a:lnTo>
                  <a:lnTo>
                    <a:pt x="2435" y="3603"/>
                  </a:lnTo>
                  <a:lnTo>
                    <a:pt x="2468" y="3571"/>
                  </a:lnTo>
                  <a:lnTo>
                    <a:pt x="2502" y="3538"/>
                  </a:lnTo>
                  <a:lnTo>
                    <a:pt x="2537" y="3506"/>
                  </a:lnTo>
                  <a:lnTo>
                    <a:pt x="2573" y="3476"/>
                  </a:lnTo>
                  <a:lnTo>
                    <a:pt x="2610" y="3446"/>
                  </a:lnTo>
                  <a:lnTo>
                    <a:pt x="2646" y="3417"/>
                  </a:lnTo>
                  <a:lnTo>
                    <a:pt x="2684" y="3389"/>
                  </a:lnTo>
                  <a:lnTo>
                    <a:pt x="2723" y="3363"/>
                  </a:lnTo>
                  <a:lnTo>
                    <a:pt x="2761" y="3337"/>
                  </a:lnTo>
                  <a:lnTo>
                    <a:pt x="2801" y="3313"/>
                  </a:lnTo>
                  <a:lnTo>
                    <a:pt x="2841" y="3288"/>
                  </a:lnTo>
                  <a:lnTo>
                    <a:pt x="2881" y="3266"/>
                  </a:lnTo>
                  <a:lnTo>
                    <a:pt x="2923" y="3244"/>
                  </a:lnTo>
                  <a:lnTo>
                    <a:pt x="2964" y="3224"/>
                  </a:lnTo>
                  <a:lnTo>
                    <a:pt x="3007" y="3204"/>
                  </a:lnTo>
                  <a:lnTo>
                    <a:pt x="3050" y="3186"/>
                  </a:lnTo>
                  <a:lnTo>
                    <a:pt x="3093" y="3169"/>
                  </a:lnTo>
                  <a:lnTo>
                    <a:pt x="3137" y="3153"/>
                  </a:lnTo>
                  <a:lnTo>
                    <a:pt x="3181" y="3138"/>
                  </a:lnTo>
                  <a:lnTo>
                    <a:pt x="3226" y="3125"/>
                  </a:lnTo>
                  <a:lnTo>
                    <a:pt x="3271" y="3113"/>
                  </a:lnTo>
                  <a:lnTo>
                    <a:pt x="3317" y="3102"/>
                  </a:lnTo>
                  <a:lnTo>
                    <a:pt x="3363" y="3092"/>
                  </a:lnTo>
                  <a:lnTo>
                    <a:pt x="3410" y="3083"/>
                  </a:lnTo>
                  <a:lnTo>
                    <a:pt x="3456" y="3076"/>
                  </a:lnTo>
                  <a:lnTo>
                    <a:pt x="3503" y="3070"/>
                  </a:lnTo>
                  <a:lnTo>
                    <a:pt x="3551" y="3066"/>
                  </a:lnTo>
                  <a:lnTo>
                    <a:pt x="3599" y="3062"/>
                  </a:lnTo>
                  <a:lnTo>
                    <a:pt x="3646" y="3059"/>
                  </a:lnTo>
                  <a:lnTo>
                    <a:pt x="3696" y="3058"/>
                  </a:lnTo>
                  <a:lnTo>
                    <a:pt x="3696" y="3508"/>
                  </a:lnTo>
                  <a:lnTo>
                    <a:pt x="3659" y="3509"/>
                  </a:lnTo>
                  <a:lnTo>
                    <a:pt x="3623" y="3510"/>
                  </a:lnTo>
                  <a:lnTo>
                    <a:pt x="3587" y="3514"/>
                  </a:lnTo>
                  <a:lnTo>
                    <a:pt x="3552" y="3518"/>
                  </a:lnTo>
                  <a:lnTo>
                    <a:pt x="3516" y="3522"/>
                  </a:lnTo>
                  <a:lnTo>
                    <a:pt x="3481" y="3528"/>
                  </a:lnTo>
                  <a:lnTo>
                    <a:pt x="3446" y="3534"/>
                  </a:lnTo>
                  <a:lnTo>
                    <a:pt x="3412" y="3541"/>
                  </a:lnTo>
                  <a:lnTo>
                    <a:pt x="3378" y="3550"/>
                  </a:lnTo>
                  <a:lnTo>
                    <a:pt x="3344" y="3558"/>
                  </a:lnTo>
                  <a:lnTo>
                    <a:pt x="3310" y="3570"/>
                  </a:lnTo>
                  <a:lnTo>
                    <a:pt x="3277" y="3581"/>
                  </a:lnTo>
                  <a:lnTo>
                    <a:pt x="3244" y="3593"/>
                  </a:lnTo>
                  <a:lnTo>
                    <a:pt x="3211" y="3606"/>
                  </a:lnTo>
                  <a:lnTo>
                    <a:pt x="3179" y="3620"/>
                  </a:lnTo>
                  <a:lnTo>
                    <a:pt x="3148" y="3635"/>
                  </a:lnTo>
                  <a:lnTo>
                    <a:pt x="3115" y="3649"/>
                  </a:lnTo>
                  <a:lnTo>
                    <a:pt x="3084" y="3667"/>
                  </a:lnTo>
                  <a:lnTo>
                    <a:pt x="3054" y="3684"/>
                  </a:lnTo>
                  <a:lnTo>
                    <a:pt x="3024" y="3702"/>
                  </a:lnTo>
                  <a:lnTo>
                    <a:pt x="2994" y="3721"/>
                  </a:lnTo>
                  <a:lnTo>
                    <a:pt x="2964" y="3740"/>
                  </a:lnTo>
                  <a:lnTo>
                    <a:pt x="2936" y="3760"/>
                  </a:lnTo>
                  <a:lnTo>
                    <a:pt x="2906" y="3782"/>
                  </a:lnTo>
                  <a:lnTo>
                    <a:pt x="2878" y="3803"/>
                  </a:lnTo>
                  <a:lnTo>
                    <a:pt x="2851" y="3827"/>
                  </a:lnTo>
                  <a:lnTo>
                    <a:pt x="2824" y="3850"/>
                  </a:lnTo>
                  <a:lnTo>
                    <a:pt x="2798" y="3874"/>
                  </a:lnTo>
                  <a:lnTo>
                    <a:pt x="2772" y="3898"/>
                  </a:lnTo>
                  <a:lnTo>
                    <a:pt x="2746" y="3924"/>
                  </a:lnTo>
                  <a:lnTo>
                    <a:pt x="2722" y="3950"/>
                  </a:lnTo>
                  <a:lnTo>
                    <a:pt x="2698" y="3977"/>
                  </a:lnTo>
                  <a:lnTo>
                    <a:pt x="2371" y="3673"/>
                  </a:lnTo>
                  <a:close/>
                  <a:moveTo>
                    <a:pt x="3696" y="3057"/>
                  </a:moveTo>
                  <a:lnTo>
                    <a:pt x="3697" y="3057"/>
                  </a:lnTo>
                  <a:lnTo>
                    <a:pt x="3697" y="3509"/>
                  </a:lnTo>
                  <a:lnTo>
                    <a:pt x="3696" y="3509"/>
                  </a:lnTo>
                  <a:lnTo>
                    <a:pt x="3696" y="3057"/>
                  </a:lnTo>
                  <a:close/>
                  <a:moveTo>
                    <a:pt x="4343" y="0"/>
                  </a:moveTo>
                  <a:lnTo>
                    <a:pt x="4343" y="451"/>
                  </a:lnTo>
                  <a:lnTo>
                    <a:pt x="4343" y="0"/>
                  </a:lnTo>
                  <a:close/>
                  <a:moveTo>
                    <a:pt x="4343" y="0"/>
                  </a:moveTo>
                  <a:lnTo>
                    <a:pt x="4455" y="2"/>
                  </a:lnTo>
                  <a:lnTo>
                    <a:pt x="4567" y="7"/>
                  </a:lnTo>
                  <a:lnTo>
                    <a:pt x="4678" y="15"/>
                  </a:lnTo>
                  <a:lnTo>
                    <a:pt x="4788" y="25"/>
                  </a:lnTo>
                  <a:lnTo>
                    <a:pt x="4897" y="39"/>
                  </a:lnTo>
                  <a:lnTo>
                    <a:pt x="5006" y="55"/>
                  </a:lnTo>
                  <a:lnTo>
                    <a:pt x="5113" y="75"/>
                  </a:lnTo>
                  <a:lnTo>
                    <a:pt x="5220" y="98"/>
                  </a:lnTo>
                  <a:lnTo>
                    <a:pt x="5326" y="123"/>
                  </a:lnTo>
                  <a:lnTo>
                    <a:pt x="5430" y="151"/>
                  </a:lnTo>
                  <a:lnTo>
                    <a:pt x="5535" y="181"/>
                  </a:lnTo>
                  <a:lnTo>
                    <a:pt x="5637" y="215"/>
                  </a:lnTo>
                  <a:lnTo>
                    <a:pt x="5739" y="252"/>
                  </a:lnTo>
                  <a:lnTo>
                    <a:pt x="5839" y="290"/>
                  </a:lnTo>
                  <a:lnTo>
                    <a:pt x="5939" y="331"/>
                  </a:lnTo>
                  <a:lnTo>
                    <a:pt x="6038" y="375"/>
                  </a:lnTo>
                  <a:lnTo>
                    <a:pt x="6134" y="422"/>
                  </a:lnTo>
                  <a:lnTo>
                    <a:pt x="6230" y="471"/>
                  </a:lnTo>
                  <a:lnTo>
                    <a:pt x="6325" y="523"/>
                  </a:lnTo>
                  <a:lnTo>
                    <a:pt x="6418" y="576"/>
                  </a:lnTo>
                  <a:lnTo>
                    <a:pt x="6510" y="632"/>
                  </a:lnTo>
                  <a:lnTo>
                    <a:pt x="6600" y="690"/>
                  </a:lnTo>
                  <a:lnTo>
                    <a:pt x="6689" y="752"/>
                  </a:lnTo>
                  <a:lnTo>
                    <a:pt x="6777" y="815"/>
                  </a:lnTo>
                  <a:lnTo>
                    <a:pt x="6862" y="880"/>
                  </a:lnTo>
                  <a:lnTo>
                    <a:pt x="6947" y="949"/>
                  </a:lnTo>
                  <a:lnTo>
                    <a:pt x="7029" y="1019"/>
                  </a:lnTo>
                  <a:lnTo>
                    <a:pt x="7111" y="1089"/>
                  </a:lnTo>
                  <a:lnTo>
                    <a:pt x="7191" y="1164"/>
                  </a:lnTo>
                  <a:lnTo>
                    <a:pt x="7268" y="1239"/>
                  </a:lnTo>
                  <a:lnTo>
                    <a:pt x="7345" y="1318"/>
                  </a:lnTo>
                  <a:lnTo>
                    <a:pt x="7419" y="1397"/>
                  </a:lnTo>
                  <a:lnTo>
                    <a:pt x="7096" y="1705"/>
                  </a:lnTo>
                  <a:lnTo>
                    <a:pt x="7029" y="1632"/>
                  </a:lnTo>
                  <a:lnTo>
                    <a:pt x="6960" y="1563"/>
                  </a:lnTo>
                  <a:lnTo>
                    <a:pt x="6891" y="1494"/>
                  </a:lnTo>
                  <a:lnTo>
                    <a:pt x="6819" y="1428"/>
                  </a:lnTo>
                  <a:lnTo>
                    <a:pt x="6746" y="1364"/>
                  </a:lnTo>
                  <a:lnTo>
                    <a:pt x="6672" y="1301"/>
                  </a:lnTo>
                  <a:lnTo>
                    <a:pt x="6596" y="1240"/>
                  </a:lnTo>
                  <a:lnTo>
                    <a:pt x="6519" y="1182"/>
                  </a:lnTo>
                  <a:lnTo>
                    <a:pt x="6441" y="1125"/>
                  </a:lnTo>
                  <a:lnTo>
                    <a:pt x="6361" y="1071"/>
                  </a:lnTo>
                  <a:lnTo>
                    <a:pt x="6281" y="1019"/>
                  </a:lnTo>
                  <a:lnTo>
                    <a:pt x="6198" y="967"/>
                  </a:lnTo>
                  <a:lnTo>
                    <a:pt x="6115" y="919"/>
                  </a:lnTo>
                  <a:lnTo>
                    <a:pt x="6030" y="873"/>
                  </a:lnTo>
                  <a:lnTo>
                    <a:pt x="5945" y="829"/>
                  </a:lnTo>
                  <a:lnTo>
                    <a:pt x="5857" y="787"/>
                  </a:lnTo>
                  <a:lnTo>
                    <a:pt x="5769" y="749"/>
                  </a:lnTo>
                  <a:lnTo>
                    <a:pt x="5680" y="711"/>
                  </a:lnTo>
                  <a:lnTo>
                    <a:pt x="5590" y="676"/>
                  </a:lnTo>
                  <a:lnTo>
                    <a:pt x="5499" y="643"/>
                  </a:lnTo>
                  <a:lnTo>
                    <a:pt x="5407" y="614"/>
                  </a:lnTo>
                  <a:lnTo>
                    <a:pt x="5315" y="585"/>
                  </a:lnTo>
                  <a:lnTo>
                    <a:pt x="5221" y="561"/>
                  </a:lnTo>
                  <a:lnTo>
                    <a:pt x="5126" y="537"/>
                  </a:lnTo>
                  <a:lnTo>
                    <a:pt x="5031" y="518"/>
                  </a:lnTo>
                  <a:lnTo>
                    <a:pt x="4935" y="501"/>
                  </a:lnTo>
                  <a:lnTo>
                    <a:pt x="4838" y="485"/>
                  </a:lnTo>
                  <a:lnTo>
                    <a:pt x="4741" y="473"/>
                  </a:lnTo>
                  <a:lnTo>
                    <a:pt x="4642" y="463"/>
                  </a:lnTo>
                  <a:lnTo>
                    <a:pt x="4543" y="456"/>
                  </a:lnTo>
                  <a:lnTo>
                    <a:pt x="4444" y="452"/>
                  </a:lnTo>
                  <a:lnTo>
                    <a:pt x="4343" y="450"/>
                  </a:lnTo>
                  <a:lnTo>
                    <a:pt x="4343" y="0"/>
                  </a:lnTo>
                  <a:close/>
                  <a:moveTo>
                    <a:pt x="7419" y="1397"/>
                  </a:moveTo>
                  <a:lnTo>
                    <a:pt x="7492" y="1479"/>
                  </a:lnTo>
                  <a:lnTo>
                    <a:pt x="7562" y="1563"/>
                  </a:lnTo>
                  <a:lnTo>
                    <a:pt x="7631" y="1647"/>
                  </a:lnTo>
                  <a:lnTo>
                    <a:pt x="7699" y="1734"/>
                  </a:lnTo>
                  <a:lnTo>
                    <a:pt x="7763" y="1823"/>
                  </a:lnTo>
                  <a:lnTo>
                    <a:pt x="7826" y="1914"/>
                  </a:lnTo>
                  <a:lnTo>
                    <a:pt x="7887" y="2006"/>
                  </a:lnTo>
                  <a:lnTo>
                    <a:pt x="7947" y="2099"/>
                  </a:lnTo>
                  <a:lnTo>
                    <a:pt x="8004" y="2195"/>
                  </a:lnTo>
                  <a:lnTo>
                    <a:pt x="8059" y="2291"/>
                  </a:lnTo>
                  <a:lnTo>
                    <a:pt x="8113" y="2390"/>
                  </a:lnTo>
                  <a:lnTo>
                    <a:pt x="8163" y="2490"/>
                  </a:lnTo>
                  <a:lnTo>
                    <a:pt x="8212" y="2591"/>
                  </a:lnTo>
                  <a:lnTo>
                    <a:pt x="8259" y="2694"/>
                  </a:lnTo>
                  <a:lnTo>
                    <a:pt x="8303" y="2799"/>
                  </a:lnTo>
                  <a:lnTo>
                    <a:pt x="8346" y="2903"/>
                  </a:lnTo>
                  <a:lnTo>
                    <a:pt x="8385" y="3012"/>
                  </a:lnTo>
                  <a:lnTo>
                    <a:pt x="8423" y="3120"/>
                  </a:lnTo>
                  <a:lnTo>
                    <a:pt x="8458" y="3229"/>
                  </a:lnTo>
                  <a:lnTo>
                    <a:pt x="8491" y="3340"/>
                  </a:lnTo>
                  <a:lnTo>
                    <a:pt x="8521" y="3451"/>
                  </a:lnTo>
                  <a:lnTo>
                    <a:pt x="8549" y="3564"/>
                  </a:lnTo>
                  <a:lnTo>
                    <a:pt x="8574" y="3678"/>
                  </a:lnTo>
                  <a:lnTo>
                    <a:pt x="8597" y="3793"/>
                  </a:lnTo>
                  <a:lnTo>
                    <a:pt x="8618" y="3909"/>
                  </a:lnTo>
                  <a:lnTo>
                    <a:pt x="8635" y="4027"/>
                  </a:lnTo>
                  <a:lnTo>
                    <a:pt x="8650" y="4144"/>
                  </a:lnTo>
                  <a:lnTo>
                    <a:pt x="8663" y="4263"/>
                  </a:lnTo>
                  <a:lnTo>
                    <a:pt x="8673" y="4383"/>
                  </a:lnTo>
                  <a:lnTo>
                    <a:pt x="8680" y="4503"/>
                  </a:lnTo>
                  <a:lnTo>
                    <a:pt x="8684" y="4626"/>
                  </a:lnTo>
                  <a:lnTo>
                    <a:pt x="8685" y="4747"/>
                  </a:lnTo>
                  <a:lnTo>
                    <a:pt x="8244" y="4747"/>
                  </a:lnTo>
                  <a:lnTo>
                    <a:pt x="8243" y="4637"/>
                  </a:lnTo>
                  <a:lnTo>
                    <a:pt x="8239" y="4526"/>
                  </a:lnTo>
                  <a:lnTo>
                    <a:pt x="8233" y="4416"/>
                  </a:lnTo>
                  <a:lnTo>
                    <a:pt x="8224" y="4307"/>
                  </a:lnTo>
                  <a:lnTo>
                    <a:pt x="8212" y="4199"/>
                  </a:lnTo>
                  <a:lnTo>
                    <a:pt x="8199" y="4092"/>
                  </a:lnTo>
                  <a:lnTo>
                    <a:pt x="8182" y="3985"/>
                  </a:lnTo>
                  <a:lnTo>
                    <a:pt x="8164" y="3880"/>
                  </a:lnTo>
                  <a:lnTo>
                    <a:pt x="8144" y="3775"/>
                  </a:lnTo>
                  <a:lnTo>
                    <a:pt x="8120" y="3672"/>
                  </a:lnTo>
                  <a:lnTo>
                    <a:pt x="8095" y="3569"/>
                  </a:lnTo>
                  <a:lnTo>
                    <a:pt x="8068" y="3467"/>
                  </a:lnTo>
                  <a:lnTo>
                    <a:pt x="8038" y="3368"/>
                  </a:lnTo>
                  <a:lnTo>
                    <a:pt x="8006" y="3268"/>
                  </a:lnTo>
                  <a:lnTo>
                    <a:pt x="7972" y="3169"/>
                  </a:lnTo>
                  <a:lnTo>
                    <a:pt x="7936" y="3073"/>
                  </a:lnTo>
                  <a:lnTo>
                    <a:pt x="7898" y="2977"/>
                  </a:lnTo>
                  <a:lnTo>
                    <a:pt x="7857" y="2882"/>
                  </a:lnTo>
                  <a:lnTo>
                    <a:pt x="7815" y="2788"/>
                  </a:lnTo>
                  <a:lnTo>
                    <a:pt x="7771" y="2696"/>
                  </a:lnTo>
                  <a:lnTo>
                    <a:pt x="7725" y="2605"/>
                  </a:lnTo>
                  <a:lnTo>
                    <a:pt x="7676" y="2516"/>
                  </a:lnTo>
                  <a:lnTo>
                    <a:pt x="7626" y="2428"/>
                  </a:lnTo>
                  <a:lnTo>
                    <a:pt x="7575" y="2341"/>
                  </a:lnTo>
                  <a:lnTo>
                    <a:pt x="7521" y="2257"/>
                  </a:lnTo>
                  <a:lnTo>
                    <a:pt x="7466" y="2172"/>
                  </a:lnTo>
                  <a:lnTo>
                    <a:pt x="7407" y="2090"/>
                  </a:lnTo>
                  <a:lnTo>
                    <a:pt x="7348" y="2011"/>
                  </a:lnTo>
                  <a:lnTo>
                    <a:pt x="7288" y="1931"/>
                  </a:lnTo>
                  <a:lnTo>
                    <a:pt x="7226" y="1854"/>
                  </a:lnTo>
                  <a:lnTo>
                    <a:pt x="7162" y="1778"/>
                  </a:lnTo>
                  <a:lnTo>
                    <a:pt x="7096" y="1705"/>
                  </a:lnTo>
                  <a:lnTo>
                    <a:pt x="7419" y="1397"/>
                  </a:lnTo>
                  <a:close/>
                  <a:moveTo>
                    <a:pt x="8686" y="4747"/>
                  </a:moveTo>
                  <a:lnTo>
                    <a:pt x="8686" y="4749"/>
                  </a:lnTo>
                  <a:lnTo>
                    <a:pt x="8243" y="4749"/>
                  </a:lnTo>
                  <a:lnTo>
                    <a:pt x="8243" y="4747"/>
                  </a:lnTo>
                  <a:lnTo>
                    <a:pt x="8686" y="4747"/>
                  </a:lnTo>
                  <a:close/>
                  <a:moveTo>
                    <a:pt x="8686" y="4749"/>
                  </a:moveTo>
                  <a:lnTo>
                    <a:pt x="8686" y="4750"/>
                  </a:lnTo>
                  <a:lnTo>
                    <a:pt x="8243" y="4750"/>
                  </a:lnTo>
                  <a:lnTo>
                    <a:pt x="8243" y="4749"/>
                  </a:lnTo>
                  <a:lnTo>
                    <a:pt x="8686" y="4749"/>
                  </a:lnTo>
                  <a:close/>
                  <a:moveTo>
                    <a:pt x="8685" y="4750"/>
                  </a:moveTo>
                  <a:lnTo>
                    <a:pt x="8684" y="4873"/>
                  </a:lnTo>
                  <a:lnTo>
                    <a:pt x="8680" y="4994"/>
                  </a:lnTo>
                  <a:lnTo>
                    <a:pt x="8673" y="5114"/>
                  </a:lnTo>
                  <a:lnTo>
                    <a:pt x="8663" y="5234"/>
                  </a:lnTo>
                  <a:lnTo>
                    <a:pt x="8650" y="5353"/>
                  </a:lnTo>
                  <a:lnTo>
                    <a:pt x="8635" y="5471"/>
                  </a:lnTo>
                  <a:lnTo>
                    <a:pt x="8618" y="5588"/>
                  </a:lnTo>
                  <a:lnTo>
                    <a:pt x="8597" y="5704"/>
                  </a:lnTo>
                  <a:lnTo>
                    <a:pt x="8574" y="5820"/>
                  </a:lnTo>
                  <a:lnTo>
                    <a:pt x="8549" y="5934"/>
                  </a:lnTo>
                  <a:lnTo>
                    <a:pt x="8521" y="6047"/>
                  </a:lnTo>
                  <a:lnTo>
                    <a:pt x="8491" y="6158"/>
                  </a:lnTo>
                  <a:lnTo>
                    <a:pt x="8458" y="6269"/>
                  </a:lnTo>
                  <a:lnTo>
                    <a:pt x="8423" y="6378"/>
                  </a:lnTo>
                  <a:lnTo>
                    <a:pt x="8385" y="6487"/>
                  </a:lnTo>
                  <a:lnTo>
                    <a:pt x="8346" y="6594"/>
                  </a:lnTo>
                  <a:lnTo>
                    <a:pt x="8303" y="6699"/>
                  </a:lnTo>
                  <a:lnTo>
                    <a:pt x="8259" y="6804"/>
                  </a:lnTo>
                  <a:lnTo>
                    <a:pt x="8212" y="6906"/>
                  </a:lnTo>
                  <a:lnTo>
                    <a:pt x="8163" y="7008"/>
                  </a:lnTo>
                  <a:lnTo>
                    <a:pt x="8113" y="7109"/>
                  </a:lnTo>
                  <a:lnTo>
                    <a:pt x="8059" y="7207"/>
                  </a:lnTo>
                  <a:lnTo>
                    <a:pt x="8004" y="7304"/>
                  </a:lnTo>
                  <a:lnTo>
                    <a:pt x="7947" y="7399"/>
                  </a:lnTo>
                  <a:lnTo>
                    <a:pt x="7887" y="7493"/>
                  </a:lnTo>
                  <a:lnTo>
                    <a:pt x="7826" y="7585"/>
                  </a:lnTo>
                  <a:lnTo>
                    <a:pt x="7762" y="7675"/>
                  </a:lnTo>
                  <a:lnTo>
                    <a:pt x="7698" y="7764"/>
                  </a:lnTo>
                  <a:lnTo>
                    <a:pt x="7631" y="7851"/>
                  </a:lnTo>
                  <a:lnTo>
                    <a:pt x="7562" y="7935"/>
                  </a:lnTo>
                  <a:lnTo>
                    <a:pt x="7492" y="8020"/>
                  </a:lnTo>
                  <a:lnTo>
                    <a:pt x="7419" y="8101"/>
                  </a:lnTo>
                  <a:lnTo>
                    <a:pt x="7096" y="7794"/>
                  </a:lnTo>
                  <a:lnTo>
                    <a:pt x="7161" y="7720"/>
                  </a:lnTo>
                  <a:lnTo>
                    <a:pt x="7226" y="7645"/>
                  </a:lnTo>
                  <a:lnTo>
                    <a:pt x="7287" y="7568"/>
                  </a:lnTo>
                  <a:lnTo>
                    <a:pt x="7348" y="7489"/>
                  </a:lnTo>
                  <a:lnTo>
                    <a:pt x="7407" y="7408"/>
                  </a:lnTo>
                  <a:lnTo>
                    <a:pt x="7465" y="7326"/>
                  </a:lnTo>
                  <a:lnTo>
                    <a:pt x="7521" y="7242"/>
                  </a:lnTo>
                  <a:lnTo>
                    <a:pt x="7575" y="7157"/>
                  </a:lnTo>
                  <a:lnTo>
                    <a:pt x="7626" y="7070"/>
                  </a:lnTo>
                  <a:lnTo>
                    <a:pt x="7676" y="6982"/>
                  </a:lnTo>
                  <a:lnTo>
                    <a:pt x="7725" y="6893"/>
                  </a:lnTo>
                  <a:lnTo>
                    <a:pt x="7771" y="6802"/>
                  </a:lnTo>
                  <a:lnTo>
                    <a:pt x="7815" y="6710"/>
                  </a:lnTo>
                  <a:lnTo>
                    <a:pt x="7857" y="6616"/>
                  </a:lnTo>
                  <a:lnTo>
                    <a:pt x="7898" y="6521"/>
                  </a:lnTo>
                  <a:lnTo>
                    <a:pt x="7936" y="6425"/>
                  </a:lnTo>
                  <a:lnTo>
                    <a:pt x="7972" y="6330"/>
                  </a:lnTo>
                  <a:lnTo>
                    <a:pt x="8006" y="6231"/>
                  </a:lnTo>
                  <a:lnTo>
                    <a:pt x="8038" y="6131"/>
                  </a:lnTo>
                  <a:lnTo>
                    <a:pt x="8068" y="6031"/>
                  </a:lnTo>
                  <a:lnTo>
                    <a:pt x="8095" y="5929"/>
                  </a:lnTo>
                  <a:lnTo>
                    <a:pt x="8120" y="5825"/>
                  </a:lnTo>
                  <a:lnTo>
                    <a:pt x="8144" y="5722"/>
                  </a:lnTo>
                  <a:lnTo>
                    <a:pt x="8165" y="5617"/>
                  </a:lnTo>
                  <a:lnTo>
                    <a:pt x="8182" y="5512"/>
                  </a:lnTo>
                  <a:lnTo>
                    <a:pt x="8199" y="5405"/>
                  </a:lnTo>
                  <a:lnTo>
                    <a:pt x="8212" y="5299"/>
                  </a:lnTo>
                  <a:lnTo>
                    <a:pt x="8224" y="5190"/>
                  </a:lnTo>
                  <a:lnTo>
                    <a:pt x="8233" y="5082"/>
                  </a:lnTo>
                  <a:lnTo>
                    <a:pt x="8239" y="4972"/>
                  </a:lnTo>
                  <a:lnTo>
                    <a:pt x="8243" y="4860"/>
                  </a:lnTo>
                  <a:lnTo>
                    <a:pt x="8244" y="4750"/>
                  </a:lnTo>
                  <a:lnTo>
                    <a:pt x="8685" y="4750"/>
                  </a:lnTo>
                  <a:close/>
                  <a:moveTo>
                    <a:pt x="7419" y="8101"/>
                  </a:moveTo>
                  <a:lnTo>
                    <a:pt x="7345" y="8180"/>
                  </a:lnTo>
                  <a:lnTo>
                    <a:pt x="7268" y="8259"/>
                  </a:lnTo>
                  <a:lnTo>
                    <a:pt x="7190" y="8334"/>
                  </a:lnTo>
                  <a:lnTo>
                    <a:pt x="7111" y="8409"/>
                  </a:lnTo>
                  <a:lnTo>
                    <a:pt x="7029" y="8480"/>
                  </a:lnTo>
                  <a:lnTo>
                    <a:pt x="6946" y="8550"/>
                  </a:lnTo>
                  <a:lnTo>
                    <a:pt x="6862" y="8618"/>
                  </a:lnTo>
                  <a:lnTo>
                    <a:pt x="6776" y="8683"/>
                  </a:lnTo>
                  <a:lnTo>
                    <a:pt x="6689" y="8747"/>
                  </a:lnTo>
                  <a:lnTo>
                    <a:pt x="6600" y="8808"/>
                  </a:lnTo>
                  <a:lnTo>
                    <a:pt x="6509" y="8866"/>
                  </a:lnTo>
                  <a:lnTo>
                    <a:pt x="6418" y="8922"/>
                  </a:lnTo>
                  <a:lnTo>
                    <a:pt x="6324" y="8975"/>
                  </a:lnTo>
                  <a:lnTo>
                    <a:pt x="6230" y="9027"/>
                  </a:lnTo>
                  <a:lnTo>
                    <a:pt x="6134" y="9076"/>
                  </a:lnTo>
                  <a:lnTo>
                    <a:pt x="6038" y="9122"/>
                  </a:lnTo>
                  <a:lnTo>
                    <a:pt x="5939" y="9167"/>
                  </a:lnTo>
                  <a:lnTo>
                    <a:pt x="5839" y="9208"/>
                  </a:lnTo>
                  <a:lnTo>
                    <a:pt x="5739" y="9246"/>
                  </a:lnTo>
                  <a:lnTo>
                    <a:pt x="5637" y="9283"/>
                  </a:lnTo>
                  <a:lnTo>
                    <a:pt x="5535" y="9317"/>
                  </a:lnTo>
                  <a:lnTo>
                    <a:pt x="5430" y="9348"/>
                  </a:lnTo>
                  <a:lnTo>
                    <a:pt x="5326" y="9375"/>
                  </a:lnTo>
                  <a:lnTo>
                    <a:pt x="5220" y="9401"/>
                  </a:lnTo>
                  <a:lnTo>
                    <a:pt x="5114" y="9423"/>
                  </a:lnTo>
                  <a:lnTo>
                    <a:pt x="5007" y="9442"/>
                  </a:lnTo>
                  <a:lnTo>
                    <a:pt x="4897" y="9459"/>
                  </a:lnTo>
                  <a:lnTo>
                    <a:pt x="4789" y="9473"/>
                  </a:lnTo>
                  <a:lnTo>
                    <a:pt x="4679" y="9483"/>
                  </a:lnTo>
                  <a:lnTo>
                    <a:pt x="4567" y="9491"/>
                  </a:lnTo>
                  <a:lnTo>
                    <a:pt x="4456" y="9496"/>
                  </a:lnTo>
                  <a:lnTo>
                    <a:pt x="4344" y="9497"/>
                  </a:lnTo>
                  <a:lnTo>
                    <a:pt x="4344" y="9048"/>
                  </a:lnTo>
                  <a:lnTo>
                    <a:pt x="4444" y="9047"/>
                  </a:lnTo>
                  <a:lnTo>
                    <a:pt x="4543" y="9041"/>
                  </a:lnTo>
                  <a:lnTo>
                    <a:pt x="4643" y="9034"/>
                  </a:lnTo>
                  <a:lnTo>
                    <a:pt x="4741" y="9025"/>
                  </a:lnTo>
                  <a:lnTo>
                    <a:pt x="4838" y="9013"/>
                  </a:lnTo>
                  <a:lnTo>
                    <a:pt x="4935" y="8998"/>
                  </a:lnTo>
                  <a:lnTo>
                    <a:pt x="5032" y="8980"/>
                  </a:lnTo>
                  <a:lnTo>
                    <a:pt x="5126" y="8961"/>
                  </a:lnTo>
                  <a:lnTo>
                    <a:pt x="5221" y="8937"/>
                  </a:lnTo>
                  <a:lnTo>
                    <a:pt x="5315" y="8913"/>
                  </a:lnTo>
                  <a:lnTo>
                    <a:pt x="5408" y="8885"/>
                  </a:lnTo>
                  <a:lnTo>
                    <a:pt x="5500" y="8855"/>
                  </a:lnTo>
                  <a:lnTo>
                    <a:pt x="5590" y="8822"/>
                  </a:lnTo>
                  <a:lnTo>
                    <a:pt x="5680" y="8787"/>
                  </a:lnTo>
                  <a:lnTo>
                    <a:pt x="5769" y="8750"/>
                  </a:lnTo>
                  <a:lnTo>
                    <a:pt x="5857" y="8711"/>
                  </a:lnTo>
                  <a:lnTo>
                    <a:pt x="5945" y="8669"/>
                  </a:lnTo>
                  <a:lnTo>
                    <a:pt x="6030" y="8625"/>
                  </a:lnTo>
                  <a:lnTo>
                    <a:pt x="6114" y="8579"/>
                  </a:lnTo>
                  <a:lnTo>
                    <a:pt x="6198" y="8531"/>
                  </a:lnTo>
                  <a:lnTo>
                    <a:pt x="6280" y="8480"/>
                  </a:lnTo>
                  <a:lnTo>
                    <a:pt x="6361" y="8427"/>
                  </a:lnTo>
                  <a:lnTo>
                    <a:pt x="6440" y="8373"/>
                  </a:lnTo>
                  <a:lnTo>
                    <a:pt x="6519" y="8316"/>
                  </a:lnTo>
                  <a:lnTo>
                    <a:pt x="6596" y="8258"/>
                  </a:lnTo>
                  <a:lnTo>
                    <a:pt x="6671" y="8198"/>
                  </a:lnTo>
                  <a:lnTo>
                    <a:pt x="6746" y="8134"/>
                  </a:lnTo>
                  <a:lnTo>
                    <a:pt x="6818" y="8070"/>
                  </a:lnTo>
                  <a:lnTo>
                    <a:pt x="6890" y="8004"/>
                  </a:lnTo>
                  <a:lnTo>
                    <a:pt x="6960" y="7935"/>
                  </a:lnTo>
                  <a:lnTo>
                    <a:pt x="7028" y="7866"/>
                  </a:lnTo>
                  <a:lnTo>
                    <a:pt x="7096" y="7794"/>
                  </a:lnTo>
                  <a:lnTo>
                    <a:pt x="7419" y="8101"/>
                  </a:lnTo>
                  <a:close/>
                  <a:moveTo>
                    <a:pt x="4344" y="9499"/>
                  </a:moveTo>
                  <a:lnTo>
                    <a:pt x="4343" y="9499"/>
                  </a:lnTo>
                  <a:lnTo>
                    <a:pt x="4343" y="9047"/>
                  </a:lnTo>
                  <a:lnTo>
                    <a:pt x="4344" y="9047"/>
                  </a:lnTo>
                  <a:lnTo>
                    <a:pt x="4344" y="9499"/>
                  </a:lnTo>
                  <a:close/>
                  <a:moveTo>
                    <a:pt x="4343" y="9499"/>
                  </a:moveTo>
                  <a:lnTo>
                    <a:pt x="4342" y="9499"/>
                  </a:lnTo>
                  <a:lnTo>
                    <a:pt x="4342" y="9047"/>
                  </a:lnTo>
                  <a:lnTo>
                    <a:pt x="4343" y="9047"/>
                  </a:lnTo>
                  <a:lnTo>
                    <a:pt x="4343" y="9499"/>
                  </a:lnTo>
                  <a:close/>
                  <a:moveTo>
                    <a:pt x="4342" y="9497"/>
                  </a:moveTo>
                  <a:lnTo>
                    <a:pt x="4230" y="9496"/>
                  </a:lnTo>
                  <a:lnTo>
                    <a:pt x="4118" y="9491"/>
                  </a:lnTo>
                  <a:lnTo>
                    <a:pt x="4006" y="9483"/>
                  </a:lnTo>
                  <a:lnTo>
                    <a:pt x="3897" y="9473"/>
                  </a:lnTo>
                  <a:lnTo>
                    <a:pt x="3788" y="9459"/>
                  </a:lnTo>
                  <a:lnTo>
                    <a:pt x="3678" y="9442"/>
                  </a:lnTo>
                  <a:lnTo>
                    <a:pt x="3571" y="9423"/>
                  </a:lnTo>
                  <a:lnTo>
                    <a:pt x="3465" y="9401"/>
                  </a:lnTo>
                  <a:lnTo>
                    <a:pt x="3359" y="9375"/>
                  </a:lnTo>
                  <a:lnTo>
                    <a:pt x="3254" y="9348"/>
                  </a:lnTo>
                  <a:lnTo>
                    <a:pt x="3150" y="9317"/>
                  </a:lnTo>
                  <a:lnTo>
                    <a:pt x="3048" y="9283"/>
                  </a:lnTo>
                  <a:lnTo>
                    <a:pt x="2946" y="9246"/>
                  </a:lnTo>
                  <a:lnTo>
                    <a:pt x="2846" y="9208"/>
                  </a:lnTo>
                  <a:lnTo>
                    <a:pt x="2746" y="9167"/>
                  </a:lnTo>
                  <a:lnTo>
                    <a:pt x="2648" y="9122"/>
                  </a:lnTo>
                  <a:lnTo>
                    <a:pt x="2552" y="9076"/>
                  </a:lnTo>
                  <a:lnTo>
                    <a:pt x="2456" y="9026"/>
                  </a:lnTo>
                  <a:lnTo>
                    <a:pt x="2361" y="8975"/>
                  </a:lnTo>
                  <a:lnTo>
                    <a:pt x="2268" y="8922"/>
                  </a:lnTo>
                  <a:lnTo>
                    <a:pt x="2176" y="8866"/>
                  </a:lnTo>
                  <a:lnTo>
                    <a:pt x="2086" y="8807"/>
                  </a:lnTo>
                  <a:lnTo>
                    <a:pt x="1997" y="8747"/>
                  </a:lnTo>
                  <a:lnTo>
                    <a:pt x="1909" y="8683"/>
                  </a:lnTo>
                  <a:lnTo>
                    <a:pt x="1823" y="8618"/>
                  </a:lnTo>
                  <a:lnTo>
                    <a:pt x="1739" y="8550"/>
                  </a:lnTo>
                  <a:lnTo>
                    <a:pt x="1656" y="8479"/>
                  </a:lnTo>
                  <a:lnTo>
                    <a:pt x="1575" y="8409"/>
                  </a:lnTo>
                  <a:lnTo>
                    <a:pt x="1495" y="8334"/>
                  </a:lnTo>
                  <a:lnTo>
                    <a:pt x="1418" y="8259"/>
                  </a:lnTo>
                  <a:lnTo>
                    <a:pt x="1341" y="8180"/>
                  </a:lnTo>
                  <a:lnTo>
                    <a:pt x="1267" y="8101"/>
                  </a:lnTo>
                  <a:lnTo>
                    <a:pt x="1590" y="7794"/>
                  </a:lnTo>
                  <a:lnTo>
                    <a:pt x="1657" y="7866"/>
                  </a:lnTo>
                  <a:lnTo>
                    <a:pt x="1726" y="7935"/>
                  </a:lnTo>
                  <a:lnTo>
                    <a:pt x="1795" y="8003"/>
                  </a:lnTo>
                  <a:lnTo>
                    <a:pt x="1867" y="8070"/>
                  </a:lnTo>
                  <a:lnTo>
                    <a:pt x="1939" y="8134"/>
                  </a:lnTo>
                  <a:lnTo>
                    <a:pt x="2014" y="8197"/>
                  </a:lnTo>
                  <a:lnTo>
                    <a:pt x="2089" y="8258"/>
                  </a:lnTo>
                  <a:lnTo>
                    <a:pt x="2167" y="8316"/>
                  </a:lnTo>
                  <a:lnTo>
                    <a:pt x="2245" y="8373"/>
                  </a:lnTo>
                  <a:lnTo>
                    <a:pt x="2324" y="8427"/>
                  </a:lnTo>
                  <a:lnTo>
                    <a:pt x="2406" y="8479"/>
                  </a:lnTo>
                  <a:lnTo>
                    <a:pt x="2488" y="8531"/>
                  </a:lnTo>
                  <a:lnTo>
                    <a:pt x="2571" y="8579"/>
                  </a:lnTo>
                  <a:lnTo>
                    <a:pt x="2655" y="8625"/>
                  </a:lnTo>
                  <a:lnTo>
                    <a:pt x="2741" y="8669"/>
                  </a:lnTo>
                  <a:lnTo>
                    <a:pt x="2828" y="8711"/>
                  </a:lnTo>
                  <a:lnTo>
                    <a:pt x="2915" y="8750"/>
                  </a:lnTo>
                  <a:lnTo>
                    <a:pt x="3004" y="8787"/>
                  </a:lnTo>
                  <a:lnTo>
                    <a:pt x="3094" y="8822"/>
                  </a:lnTo>
                  <a:lnTo>
                    <a:pt x="3185" y="8855"/>
                  </a:lnTo>
                  <a:lnTo>
                    <a:pt x="3277" y="8885"/>
                  </a:lnTo>
                  <a:lnTo>
                    <a:pt x="3370" y="8913"/>
                  </a:lnTo>
                  <a:lnTo>
                    <a:pt x="3464" y="8937"/>
                  </a:lnTo>
                  <a:lnTo>
                    <a:pt x="3558" y="8961"/>
                  </a:lnTo>
                  <a:lnTo>
                    <a:pt x="3653" y="8980"/>
                  </a:lnTo>
                  <a:lnTo>
                    <a:pt x="3750" y="8998"/>
                  </a:lnTo>
                  <a:lnTo>
                    <a:pt x="3847" y="9013"/>
                  </a:lnTo>
                  <a:lnTo>
                    <a:pt x="3945" y="9025"/>
                  </a:lnTo>
                  <a:lnTo>
                    <a:pt x="4043" y="9035"/>
                  </a:lnTo>
                  <a:lnTo>
                    <a:pt x="4142" y="9042"/>
                  </a:lnTo>
                  <a:lnTo>
                    <a:pt x="4241" y="9047"/>
                  </a:lnTo>
                  <a:lnTo>
                    <a:pt x="4342" y="9048"/>
                  </a:lnTo>
                  <a:lnTo>
                    <a:pt x="4342" y="9497"/>
                  </a:lnTo>
                  <a:close/>
                  <a:moveTo>
                    <a:pt x="1267" y="8101"/>
                  </a:moveTo>
                  <a:lnTo>
                    <a:pt x="1194" y="8019"/>
                  </a:lnTo>
                  <a:lnTo>
                    <a:pt x="1124" y="7935"/>
                  </a:lnTo>
                  <a:lnTo>
                    <a:pt x="1055" y="7851"/>
                  </a:lnTo>
                  <a:lnTo>
                    <a:pt x="987" y="7764"/>
                  </a:lnTo>
                  <a:lnTo>
                    <a:pt x="923" y="7675"/>
                  </a:lnTo>
                  <a:lnTo>
                    <a:pt x="860" y="7584"/>
                  </a:lnTo>
                  <a:lnTo>
                    <a:pt x="798" y="7493"/>
                  </a:lnTo>
                  <a:lnTo>
                    <a:pt x="739" y="7399"/>
                  </a:lnTo>
                  <a:lnTo>
                    <a:pt x="682" y="7303"/>
                  </a:lnTo>
                  <a:lnTo>
                    <a:pt x="627" y="7207"/>
                  </a:lnTo>
                  <a:lnTo>
                    <a:pt x="573" y="7108"/>
                  </a:lnTo>
                  <a:lnTo>
                    <a:pt x="522" y="7008"/>
                  </a:lnTo>
                  <a:lnTo>
                    <a:pt x="474" y="6906"/>
                  </a:lnTo>
                  <a:lnTo>
                    <a:pt x="427" y="6804"/>
                  </a:lnTo>
                  <a:lnTo>
                    <a:pt x="383" y="6699"/>
                  </a:lnTo>
                  <a:lnTo>
                    <a:pt x="340" y="6594"/>
                  </a:lnTo>
                  <a:lnTo>
                    <a:pt x="301" y="6487"/>
                  </a:lnTo>
                  <a:lnTo>
                    <a:pt x="263" y="6378"/>
                  </a:lnTo>
                  <a:lnTo>
                    <a:pt x="228" y="6269"/>
                  </a:lnTo>
                  <a:lnTo>
                    <a:pt x="195" y="6158"/>
                  </a:lnTo>
                  <a:lnTo>
                    <a:pt x="165" y="6047"/>
                  </a:lnTo>
                  <a:lnTo>
                    <a:pt x="137" y="5935"/>
                  </a:lnTo>
                  <a:lnTo>
                    <a:pt x="112" y="5820"/>
                  </a:lnTo>
                  <a:lnTo>
                    <a:pt x="89" y="5704"/>
                  </a:lnTo>
                  <a:lnTo>
                    <a:pt x="69" y="5589"/>
                  </a:lnTo>
                  <a:lnTo>
                    <a:pt x="51" y="5471"/>
                  </a:lnTo>
                  <a:lnTo>
                    <a:pt x="36" y="5354"/>
                  </a:lnTo>
                  <a:lnTo>
                    <a:pt x="23" y="5235"/>
                  </a:lnTo>
                  <a:lnTo>
                    <a:pt x="13" y="5115"/>
                  </a:lnTo>
                  <a:lnTo>
                    <a:pt x="6" y="4994"/>
                  </a:lnTo>
                  <a:lnTo>
                    <a:pt x="2" y="4873"/>
                  </a:lnTo>
                  <a:lnTo>
                    <a:pt x="1" y="4750"/>
                  </a:lnTo>
                  <a:lnTo>
                    <a:pt x="442" y="4750"/>
                  </a:lnTo>
                  <a:lnTo>
                    <a:pt x="443" y="4861"/>
                  </a:lnTo>
                  <a:lnTo>
                    <a:pt x="447" y="4973"/>
                  </a:lnTo>
                  <a:lnTo>
                    <a:pt x="453" y="5082"/>
                  </a:lnTo>
                  <a:lnTo>
                    <a:pt x="462" y="5190"/>
                  </a:lnTo>
                  <a:lnTo>
                    <a:pt x="474" y="5299"/>
                  </a:lnTo>
                  <a:lnTo>
                    <a:pt x="487" y="5406"/>
                  </a:lnTo>
                  <a:lnTo>
                    <a:pt x="503" y="5513"/>
                  </a:lnTo>
                  <a:lnTo>
                    <a:pt x="522" y="5617"/>
                  </a:lnTo>
                  <a:lnTo>
                    <a:pt x="542" y="5723"/>
                  </a:lnTo>
                  <a:lnTo>
                    <a:pt x="566" y="5827"/>
                  </a:lnTo>
                  <a:lnTo>
                    <a:pt x="591" y="5930"/>
                  </a:lnTo>
                  <a:lnTo>
                    <a:pt x="618" y="6031"/>
                  </a:lnTo>
                  <a:lnTo>
                    <a:pt x="648" y="6131"/>
                  </a:lnTo>
                  <a:lnTo>
                    <a:pt x="680" y="6231"/>
                  </a:lnTo>
                  <a:lnTo>
                    <a:pt x="714" y="6330"/>
                  </a:lnTo>
                  <a:lnTo>
                    <a:pt x="750" y="6425"/>
                  </a:lnTo>
                  <a:lnTo>
                    <a:pt x="788" y="6521"/>
                  </a:lnTo>
                  <a:lnTo>
                    <a:pt x="829" y="6616"/>
                  </a:lnTo>
                  <a:lnTo>
                    <a:pt x="871" y="6710"/>
                  </a:lnTo>
                  <a:lnTo>
                    <a:pt x="915" y="6802"/>
                  </a:lnTo>
                  <a:lnTo>
                    <a:pt x="961" y="6893"/>
                  </a:lnTo>
                  <a:lnTo>
                    <a:pt x="1010" y="6982"/>
                  </a:lnTo>
                  <a:lnTo>
                    <a:pt x="1060" y="7070"/>
                  </a:lnTo>
                  <a:lnTo>
                    <a:pt x="1111" y="7157"/>
                  </a:lnTo>
                  <a:lnTo>
                    <a:pt x="1165" y="7242"/>
                  </a:lnTo>
                  <a:lnTo>
                    <a:pt x="1220" y="7326"/>
                  </a:lnTo>
                  <a:lnTo>
                    <a:pt x="1278" y="7408"/>
                  </a:lnTo>
                  <a:lnTo>
                    <a:pt x="1338" y="7488"/>
                  </a:lnTo>
                  <a:lnTo>
                    <a:pt x="1398" y="7567"/>
                  </a:lnTo>
                  <a:lnTo>
                    <a:pt x="1460" y="7644"/>
                  </a:lnTo>
                  <a:lnTo>
                    <a:pt x="1524" y="7720"/>
                  </a:lnTo>
                  <a:lnTo>
                    <a:pt x="1590" y="7794"/>
                  </a:lnTo>
                  <a:lnTo>
                    <a:pt x="1267" y="8101"/>
                  </a:lnTo>
                  <a:close/>
                  <a:moveTo>
                    <a:pt x="0" y="4750"/>
                  </a:moveTo>
                  <a:lnTo>
                    <a:pt x="0" y="4749"/>
                  </a:lnTo>
                  <a:lnTo>
                    <a:pt x="443" y="4749"/>
                  </a:lnTo>
                  <a:lnTo>
                    <a:pt x="443" y="4750"/>
                  </a:lnTo>
                  <a:lnTo>
                    <a:pt x="0" y="4750"/>
                  </a:lnTo>
                  <a:close/>
                  <a:moveTo>
                    <a:pt x="0" y="4749"/>
                  </a:moveTo>
                  <a:lnTo>
                    <a:pt x="0" y="4748"/>
                  </a:lnTo>
                  <a:lnTo>
                    <a:pt x="443" y="4748"/>
                  </a:lnTo>
                  <a:lnTo>
                    <a:pt x="443" y="4749"/>
                  </a:lnTo>
                  <a:lnTo>
                    <a:pt x="0" y="4749"/>
                  </a:lnTo>
                  <a:close/>
                  <a:moveTo>
                    <a:pt x="1" y="4748"/>
                  </a:moveTo>
                  <a:lnTo>
                    <a:pt x="2" y="4626"/>
                  </a:lnTo>
                  <a:lnTo>
                    <a:pt x="6" y="4504"/>
                  </a:lnTo>
                  <a:lnTo>
                    <a:pt x="13" y="4384"/>
                  </a:lnTo>
                  <a:lnTo>
                    <a:pt x="23" y="4263"/>
                  </a:lnTo>
                  <a:lnTo>
                    <a:pt x="36" y="4145"/>
                  </a:lnTo>
                  <a:lnTo>
                    <a:pt x="51" y="4027"/>
                  </a:lnTo>
                  <a:lnTo>
                    <a:pt x="69" y="3910"/>
                  </a:lnTo>
                  <a:lnTo>
                    <a:pt x="89" y="3794"/>
                  </a:lnTo>
                  <a:lnTo>
                    <a:pt x="112" y="3678"/>
                  </a:lnTo>
                  <a:lnTo>
                    <a:pt x="137" y="3565"/>
                  </a:lnTo>
                  <a:lnTo>
                    <a:pt x="165" y="3451"/>
                  </a:lnTo>
                  <a:lnTo>
                    <a:pt x="195" y="3340"/>
                  </a:lnTo>
                  <a:lnTo>
                    <a:pt x="228" y="3229"/>
                  </a:lnTo>
                  <a:lnTo>
                    <a:pt x="263" y="3120"/>
                  </a:lnTo>
                  <a:lnTo>
                    <a:pt x="301" y="3012"/>
                  </a:lnTo>
                  <a:lnTo>
                    <a:pt x="340" y="2903"/>
                  </a:lnTo>
                  <a:lnTo>
                    <a:pt x="383" y="2799"/>
                  </a:lnTo>
                  <a:lnTo>
                    <a:pt x="427" y="2694"/>
                  </a:lnTo>
                  <a:lnTo>
                    <a:pt x="474" y="2591"/>
                  </a:lnTo>
                  <a:lnTo>
                    <a:pt x="523" y="2490"/>
                  </a:lnTo>
                  <a:lnTo>
                    <a:pt x="573" y="2389"/>
                  </a:lnTo>
                  <a:lnTo>
                    <a:pt x="627" y="2291"/>
                  </a:lnTo>
                  <a:lnTo>
                    <a:pt x="682" y="2194"/>
                  </a:lnTo>
                  <a:lnTo>
                    <a:pt x="739" y="2099"/>
                  </a:lnTo>
                  <a:lnTo>
                    <a:pt x="799" y="2006"/>
                  </a:lnTo>
                  <a:lnTo>
                    <a:pt x="860" y="1913"/>
                  </a:lnTo>
                  <a:lnTo>
                    <a:pt x="923" y="1823"/>
                  </a:lnTo>
                  <a:lnTo>
                    <a:pt x="988" y="1734"/>
                  </a:lnTo>
                  <a:lnTo>
                    <a:pt x="1055" y="1647"/>
                  </a:lnTo>
                  <a:lnTo>
                    <a:pt x="1124" y="1562"/>
                  </a:lnTo>
                  <a:lnTo>
                    <a:pt x="1194" y="1478"/>
                  </a:lnTo>
                  <a:lnTo>
                    <a:pt x="1267" y="1396"/>
                  </a:lnTo>
                  <a:lnTo>
                    <a:pt x="1591" y="1704"/>
                  </a:lnTo>
                  <a:lnTo>
                    <a:pt x="1525" y="1777"/>
                  </a:lnTo>
                  <a:lnTo>
                    <a:pt x="1460" y="1854"/>
                  </a:lnTo>
                  <a:lnTo>
                    <a:pt x="1399" y="1930"/>
                  </a:lnTo>
                  <a:lnTo>
                    <a:pt x="1338" y="2010"/>
                  </a:lnTo>
                  <a:lnTo>
                    <a:pt x="1279" y="2090"/>
                  </a:lnTo>
                  <a:lnTo>
                    <a:pt x="1220" y="2172"/>
                  </a:lnTo>
                  <a:lnTo>
                    <a:pt x="1165" y="2257"/>
                  </a:lnTo>
                  <a:lnTo>
                    <a:pt x="1112" y="2341"/>
                  </a:lnTo>
                  <a:lnTo>
                    <a:pt x="1060" y="2428"/>
                  </a:lnTo>
                  <a:lnTo>
                    <a:pt x="1010" y="2516"/>
                  </a:lnTo>
                  <a:lnTo>
                    <a:pt x="961" y="2605"/>
                  </a:lnTo>
                  <a:lnTo>
                    <a:pt x="915" y="2695"/>
                  </a:lnTo>
                  <a:lnTo>
                    <a:pt x="871" y="2788"/>
                  </a:lnTo>
                  <a:lnTo>
                    <a:pt x="829" y="2882"/>
                  </a:lnTo>
                  <a:lnTo>
                    <a:pt x="788" y="2977"/>
                  </a:lnTo>
                  <a:lnTo>
                    <a:pt x="750" y="3073"/>
                  </a:lnTo>
                  <a:lnTo>
                    <a:pt x="714" y="3169"/>
                  </a:lnTo>
                  <a:lnTo>
                    <a:pt x="680" y="3268"/>
                  </a:lnTo>
                  <a:lnTo>
                    <a:pt x="648" y="3368"/>
                  </a:lnTo>
                  <a:lnTo>
                    <a:pt x="618" y="3468"/>
                  </a:lnTo>
                  <a:lnTo>
                    <a:pt x="591" y="3570"/>
                  </a:lnTo>
                  <a:lnTo>
                    <a:pt x="566" y="3673"/>
                  </a:lnTo>
                  <a:lnTo>
                    <a:pt x="542" y="3776"/>
                  </a:lnTo>
                  <a:lnTo>
                    <a:pt x="521" y="3881"/>
                  </a:lnTo>
                  <a:lnTo>
                    <a:pt x="503" y="3986"/>
                  </a:lnTo>
                  <a:lnTo>
                    <a:pt x="487" y="4093"/>
                  </a:lnTo>
                  <a:lnTo>
                    <a:pt x="474" y="4199"/>
                  </a:lnTo>
                  <a:lnTo>
                    <a:pt x="462" y="4308"/>
                  </a:lnTo>
                  <a:lnTo>
                    <a:pt x="453" y="4416"/>
                  </a:lnTo>
                  <a:lnTo>
                    <a:pt x="447" y="4527"/>
                  </a:lnTo>
                  <a:lnTo>
                    <a:pt x="443" y="4637"/>
                  </a:lnTo>
                  <a:lnTo>
                    <a:pt x="442" y="4748"/>
                  </a:lnTo>
                  <a:lnTo>
                    <a:pt x="1" y="4748"/>
                  </a:lnTo>
                  <a:close/>
                  <a:moveTo>
                    <a:pt x="1267" y="1396"/>
                  </a:moveTo>
                  <a:lnTo>
                    <a:pt x="1341" y="1318"/>
                  </a:lnTo>
                  <a:lnTo>
                    <a:pt x="1418" y="1239"/>
                  </a:lnTo>
                  <a:lnTo>
                    <a:pt x="1495" y="1164"/>
                  </a:lnTo>
                  <a:lnTo>
                    <a:pt x="1575" y="1089"/>
                  </a:lnTo>
                  <a:lnTo>
                    <a:pt x="1657" y="1018"/>
                  </a:lnTo>
                  <a:lnTo>
                    <a:pt x="1740" y="948"/>
                  </a:lnTo>
                  <a:lnTo>
                    <a:pt x="1824" y="880"/>
                  </a:lnTo>
                  <a:lnTo>
                    <a:pt x="1910" y="815"/>
                  </a:lnTo>
                  <a:lnTo>
                    <a:pt x="1997" y="752"/>
                  </a:lnTo>
                  <a:lnTo>
                    <a:pt x="2086" y="690"/>
                  </a:lnTo>
                  <a:lnTo>
                    <a:pt x="2176" y="632"/>
                  </a:lnTo>
                  <a:lnTo>
                    <a:pt x="2268" y="576"/>
                  </a:lnTo>
                  <a:lnTo>
                    <a:pt x="2361" y="522"/>
                  </a:lnTo>
                  <a:lnTo>
                    <a:pt x="2456" y="471"/>
                  </a:lnTo>
                  <a:lnTo>
                    <a:pt x="2552" y="422"/>
                  </a:lnTo>
                  <a:lnTo>
                    <a:pt x="2648" y="375"/>
                  </a:lnTo>
                  <a:lnTo>
                    <a:pt x="2746" y="331"/>
                  </a:lnTo>
                  <a:lnTo>
                    <a:pt x="2846" y="290"/>
                  </a:lnTo>
                  <a:lnTo>
                    <a:pt x="2946" y="252"/>
                  </a:lnTo>
                  <a:lnTo>
                    <a:pt x="3048" y="215"/>
                  </a:lnTo>
                  <a:lnTo>
                    <a:pt x="3150" y="181"/>
                  </a:lnTo>
                  <a:lnTo>
                    <a:pt x="3254" y="151"/>
                  </a:lnTo>
                  <a:lnTo>
                    <a:pt x="3358" y="123"/>
                  </a:lnTo>
                  <a:lnTo>
                    <a:pt x="3465" y="98"/>
                  </a:lnTo>
                  <a:lnTo>
                    <a:pt x="3571" y="75"/>
                  </a:lnTo>
                  <a:lnTo>
                    <a:pt x="3678" y="55"/>
                  </a:lnTo>
                  <a:lnTo>
                    <a:pt x="3787" y="39"/>
                  </a:lnTo>
                  <a:lnTo>
                    <a:pt x="3896" y="25"/>
                  </a:lnTo>
                  <a:lnTo>
                    <a:pt x="4006" y="15"/>
                  </a:lnTo>
                  <a:lnTo>
                    <a:pt x="4118" y="7"/>
                  </a:lnTo>
                  <a:lnTo>
                    <a:pt x="4229" y="2"/>
                  </a:lnTo>
                  <a:lnTo>
                    <a:pt x="4341" y="0"/>
                  </a:lnTo>
                  <a:lnTo>
                    <a:pt x="4341" y="450"/>
                  </a:lnTo>
                  <a:lnTo>
                    <a:pt x="4240" y="452"/>
                  </a:lnTo>
                  <a:lnTo>
                    <a:pt x="4141" y="456"/>
                  </a:lnTo>
                  <a:lnTo>
                    <a:pt x="4042" y="463"/>
                  </a:lnTo>
                  <a:lnTo>
                    <a:pt x="3944" y="473"/>
                  </a:lnTo>
                  <a:lnTo>
                    <a:pt x="3846" y="485"/>
                  </a:lnTo>
                  <a:lnTo>
                    <a:pt x="3749" y="501"/>
                  </a:lnTo>
                  <a:lnTo>
                    <a:pt x="3653" y="518"/>
                  </a:lnTo>
                  <a:lnTo>
                    <a:pt x="3558" y="537"/>
                  </a:lnTo>
                  <a:lnTo>
                    <a:pt x="3464" y="561"/>
                  </a:lnTo>
                  <a:lnTo>
                    <a:pt x="3370" y="585"/>
                  </a:lnTo>
                  <a:lnTo>
                    <a:pt x="3277" y="613"/>
                  </a:lnTo>
                  <a:lnTo>
                    <a:pt x="3185" y="643"/>
                  </a:lnTo>
                  <a:lnTo>
                    <a:pt x="3094" y="676"/>
                  </a:lnTo>
                  <a:lnTo>
                    <a:pt x="3004" y="711"/>
                  </a:lnTo>
                  <a:lnTo>
                    <a:pt x="2916" y="749"/>
                  </a:lnTo>
                  <a:lnTo>
                    <a:pt x="2828" y="786"/>
                  </a:lnTo>
                  <a:lnTo>
                    <a:pt x="2741" y="829"/>
                  </a:lnTo>
                  <a:lnTo>
                    <a:pt x="2656" y="872"/>
                  </a:lnTo>
                  <a:lnTo>
                    <a:pt x="2571" y="919"/>
                  </a:lnTo>
                  <a:lnTo>
                    <a:pt x="2488" y="967"/>
                  </a:lnTo>
                  <a:lnTo>
                    <a:pt x="2406" y="1018"/>
                  </a:lnTo>
                  <a:lnTo>
                    <a:pt x="2325" y="1070"/>
                  </a:lnTo>
                  <a:lnTo>
                    <a:pt x="2245" y="1125"/>
                  </a:lnTo>
                  <a:lnTo>
                    <a:pt x="2167" y="1181"/>
                  </a:lnTo>
                  <a:lnTo>
                    <a:pt x="2090" y="1240"/>
                  </a:lnTo>
                  <a:lnTo>
                    <a:pt x="2015" y="1301"/>
                  </a:lnTo>
                  <a:lnTo>
                    <a:pt x="1940" y="1364"/>
                  </a:lnTo>
                  <a:lnTo>
                    <a:pt x="1868" y="1428"/>
                  </a:lnTo>
                  <a:lnTo>
                    <a:pt x="1796" y="1494"/>
                  </a:lnTo>
                  <a:lnTo>
                    <a:pt x="1726" y="1563"/>
                  </a:lnTo>
                  <a:lnTo>
                    <a:pt x="1658" y="1632"/>
                  </a:lnTo>
                  <a:lnTo>
                    <a:pt x="1591" y="1704"/>
                  </a:lnTo>
                  <a:lnTo>
                    <a:pt x="1267" y="1396"/>
                  </a:lnTo>
                  <a:close/>
                  <a:moveTo>
                    <a:pt x="4341" y="0"/>
                  </a:moveTo>
                  <a:lnTo>
                    <a:pt x="4343" y="0"/>
                  </a:lnTo>
                  <a:lnTo>
                    <a:pt x="4343" y="451"/>
                  </a:lnTo>
                  <a:lnTo>
                    <a:pt x="4341" y="451"/>
                  </a:lnTo>
                  <a:lnTo>
                    <a:pt x="4341" y="0"/>
                  </a:lnTo>
                  <a:close/>
                </a:path>
              </a:pathLst>
            </a:cu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6" name="Rectangle 203"/>
            <p:cNvSpPr>
              <a:spLocks noChangeArrowheads="1"/>
            </p:cNvSpPr>
            <p:nvPr/>
          </p:nvSpPr>
          <p:spPr bwMode="auto">
            <a:xfrm>
              <a:off x="1665" y="1884"/>
              <a:ext cx="1" cy="10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37" name="Freeform 204"/>
            <p:cNvSpPr>
              <a:spLocks/>
            </p:cNvSpPr>
            <p:nvPr/>
          </p:nvSpPr>
          <p:spPr bwMode="auto">
            <a:xfrm>
              <a:off x="1665" y="1884"/>
              <a:ext cx="32" cy="21"/>
            </a:xfrm>
            <a:custGeom>
              <a:avLst/>
              <a:gdLst>
                <a:gd name="T0" fmla="*/ 0 w 1326"/>
                <a:gd name="T1" fmla="*/ 0 h 920"/>
                <a:gd name="T2" fmla="*/ 0 w 1326"/>
                <a:gd name="T3" fmla="*/ 0 h 920"/>
                <a:gd name="T4" fmla="*/ 0 w 1326"/>
                <a:gd name="T5" fmla="*/ 0 h 920"/>
                <a:gd name="T6" fmla="*/ 0 w 1326"/>
                <a:gd name="T7" fmla="*/ 0 h 920"/>
                <a:gd name="T8" fmla="*/ 0 w 1326"/>
                <a:gd name="T9" fmla="*/ 0 h 920"/>
                <a:gd name="T10" fmla="*/ 0 w 1326"/>
                <a:gd name="T11" fmla="*/ 0 h 920"/>
                <a:gd name="T12" fmla="*/ 0 w 1326"/>
                <a:gd name="T13" fmla="*/ 0 h 920"/>
                <a:gd name="T14" fmla="*/ 0 w 1326"/>
                <a:gd name="T15" fmla="*/ 0 h 920"/>
                <a:gd name="T16" fmla="*/ 0 w 1326"/>
                <a:gd name="T17" fmla="*/ 0 h 920"/>
                <a:gd name="T18" fmla="*/ 0 w 1326"/>
                <a:gd name="T19" fmla="*/ 0 h 920"/>
                <a:gd name="T20" fmla="*/ 0 w 1326"/>
                <a:gd name="T21" fmla="*/ 0 h 920"/>
                <a:gd name="T22" fmla="*/ 0 w 1326"/>
                <a:gd name="T23" fmla="*/ 0 h 920"/>
                <a:gd name="T24" fmla="*/ 0 w 1326"/>
                <a:gd name="T25" fmla="*/ 0 h 920"/>
                <a:gd name="T26" fmla="*/ 0 w 1326"/>
                <a:gd name="T27" fmla="*/ 0 h 920"/>
                <a:gd name="T28" fmla="*/ 0 w 1326"/>
                <a:gd name="T29" fmla="*/ 0 h 920"/>
                <a:gd name="T30" fmla="*/ 0 w 1326"/>
                <a:gd name="T31" fmla="*/ 0 h 920"/>
                <a:gd name="T32" fmla="*/ 0 w 1326"/>
                <a:gd name="T33" fmla="*/ 0 h 920"/>
                <a:gd name="T34" fmla="*/ 0 w 1326"/>
                <a:gd name="T35" fmla="*/ 0 h 920"/>
                <a:gd name="T36" fmla="*/ 0 w 1326"/>
                <a:gd name="T37" fmla="*/ 0 h 920"/>
                <a:gd name="T38" fmla="*/ 0 w 1326"/>
                <a:gd name="T39" fmla="*/ 0 h 920"/>
                <a:gd name="T40" fmla="*/ 0 w 1326"/>
                <a:gd name="T41" fmla="*/ 0 h 920"/>
                <a:gd name="T42" fmla="*/ 0 w 1326"/>
                <a:gd name="T43" fmla="*/ 0 h 920"/>
                <a:gd name="T44" fmla="*/ 0 w 1326"/>
                <a:gd name="T45" fmla="*/ 0 h 920"/>
                <a:gd name="T46" fmla="*/ 0 w 1326"/>
                <a:gd name="T47" fmla="*/ 0 h 920"/>
                <a:gd name="T48" fmla="*/ 0 w 1326"/>
                <a:gd name="T49" fmla="*/ 0 h 920"/>
                <a:gd name="T50" fmla="*/ 0 w 1326"/>
                <a:gd name="T51" fmla="*/ 0 h 920"/>
                <a:gd name="T52" fmla="*/ 0 w 1326"/>
                <a:gd name="T53" fmla="*/ 0 h 920"/>
                <a:gd name="T54" fmla="*/ 0 w 1326"/>
                <a:gd name="T55" fmla="*/ 0 h 920"/>
                <a:gd name="T56" fmla="*/ 0 w 1326"/>
                <a:gd name="T57" fmla="*/ 0 h 920"/>
                <a:gd name="T58" fmla="*/ 0 w 1326"/>
                <a:gd name="T59" fmla="*/ 0 h 920"/>
                <a:gd name="T60" fmla="*/ 0 w 1326"/>
                <a:gd name="T61" fmla="*/ 0 h 920"/>
                <a:gd name="T62" fmla="*/ 0 w 1326"/>
                <a:gd name="T63" fmla="*/ 0 h 920"/>
                <a:gd name="T64" fmla="*/ 0 w 1326"/>
                <a:gd name="T65" fmla="*/ 0 h 9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26"/>
                <a:gd name="T100" fmla="*/ 0 h 920"/>
                <a:gd name="T101" fmla="*/ 1326 w 1326"/>
                <a:gd name="T102" fmla="*/ 920 h 9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26" h="920">
                  <a:moveTo>
                    <a:pt x="0" y="0"/>
                  </a:moveTo>
                  <a:lnTo>
                    <a:pt x="48" y="1"/>
                  </a:lnTo>
                  <a:lnTo>
                    <a:pt x="96" y="4"/>
                  </a:lnTo>
                  <a:lnTo>
                    <a:pt x="144" y="8"/>
                  </a:lnTo>
                  <a:lnTo>
                    <a:pt x="191" y="12"/>
                  </a:lnTo>
                  <a:lnTo>
                    <a:pt x="239" y="18"/>
                  </a:lnTo>
                  <a:lnTo>
                    <a:pt x="285" y="25"/>
                  </a:lnTo>
                  <a:lnTo>
                    <a:pt x="332" y="34"/>
                  </a:lnTo>
                  <a:lnTo>
                    <a:pt x="378" y="43"/>
                  </a:lnTo>
                  <a:lnTo>
                    <a:pt x="424" y="55"/>
                  </a:lnTo>
                  <a:lnTo>
                    <a:pt x="469" y="67"/>
                  </a:lnTo>
                  <a:lnTo>
                    <a:pt x="513" y="80"/>
                  </a:lnTo>
                  <a:lnTo>
                    <a:pt x="558" y="95"/>
                  </a:lnTo>
                  <a:lnTo>
                    <a:pt x="602" y="111"/>
                  </a:lnTo>
                  <a:lnTo>
                    <a:pt x="645" y="128"/>
                  </a:lnTo>
                  <a:lnTo>
                    <a:pt x="688" y="146"/>
                  </a:lnTo>
                  <a:lnTo>
                    <a:pt x="730" y="166"/>
                  </a:lnTo>
                  <a:lnTo>
                    <a:pt x="773" y="186"/>
                  </a:lnTo>
                  <a:lnTo>
                    <a:pt x="813" y="208"/>
                  </a:lnTo>
                  <a:lnTo>
                    <a:pt x="854" y="230"/>
                  </a:lnTo>
                  <a:lnTo>
                    <a:pt x="895" y="255"/>
                  </a:lnTo>
                  <a:lnTo>
                    <a:pt x="934" y="279"/>
                  </a:lnTo>
                  <a:lnTo>
                    <a:pt x="973" y="305"/>
                  </a:lnTo>
                  <a:lnTo>
                    <a:pt x="1011" y="331"/>
                  </a:lnTo>
                  <a:lnTo>
                    <a:pt x="1048" y="359"/>
                  </a:lnTo>
                  <a:lnTo>
                    <a:pt x="1086" y="388"/>
                  </a:lnTo>
                  <a:lnTo>
                    <a:pt x="1122" y="418"/>
                  </a:lnTo>
                  <a:lnTo>
                    <a:pt x="1158" y="448"/>
                  </a:lnTo>
                  <a:lnTo>
                    <a:pt x="1193" y="480"/>
                  </a:lnTo>
                  <a:lnTo>
                    <a:pt x="1227" y="513"/>
                  </a:lnTo>
                  <a:lnTo>
                    <a:pt x="1260" y="546"/>
                  </a:lnTo>
                  <a:lnTo>
                    <a:pt x="1293" y="580"/>
                  </a:lnTo>
                  <a:lnTo>
                    <a:pt x="1326" y="616"/>
                  </a:lnTo>
                  <a:lnTo>
                    <a:pt x="999" y="920"/>
                  </a:lnTo>
                  <a:lnTo>
                    <a:pt x="974" y="893"/>
                  </a:lnTo>
                  <a:lnTo>
                    <a:pt x="949" y="866"/>
                  </a:lnTo>
                  <a:lnTo>
                    <a:pt x="924" y="840"/>
                  </a:lnTo>
                  <a:lnTo>
                    <a:pt x="897" y="816"/>
                  </a:lnTo>
                  <a:lnTo>
                    <a:pt x="871" y="792"/>
                  </a:lnTo>
                  <a:lnTo>
                    <a:pt x="844" y="769"/>
                  </a:lnTo>
                  <a:lnTo>
                    <a:pt x="816" y="745"/>
                  </a:lnTo>
                  <a:lnTo>
                    <a:pt x="788" y="724"/>
                  </a:lnTo>
                  <a:lnTo>
                    <a:pt x="760" y="703"/>
                  </a:lnTo>
                  <a:lnTo>
                    <a:pt x="731" y="682"/>
                  </a:lnTo>
                  <a:lnTo>
                    <a:pt x="701" y="663"/>
                  </a:lnTo>
                  <a:lnTo>
                    <a:pt x="672" y="644"/>
                  </a:lnTo>
                  <a:lnTo>
                    <a:pt x="641" y="626"/>
                  </a:lnTo>
                  <a:lnTo>
                    <a:pt x="611" y="609"/>
                  </a:lnTo>
                  <a:lnTo>
                    <a:pt x="579" y="591"/>
                  </a:lnTo>
                  <a:lnTo>
                    <a:pt x="548" y="577"/>
                  </a:lnTo>
                  <a:lnTo>
                    <a:pt x="516" y="562"/>
                  </a:lnTo>
                  <a:lnTo>
                    <a:pt x="483" y="548"/>
                  </a:lnTo>
                  <a:lnTo>
                    <a:pt x="452" y="535"/>
                  </a:lnTo>
                  <a:lnTo>
                    <a:pt x="419" y="523"/>
                  </a:lnTo>
                  <a:lnTo>
                    <a:pt x="385" y="512"/>
                  </a:lnTo>
                  <a:lnTo>
                    <a:pt x="351" y="500"/>
                  </a:lnTo>
                  <a:lnTo>
                    <a:pt x="317" y="492"/>
                  </a:lnTo>
                  <a:lnTo>
                    <a:pt x="283" y="483"/>
                  </a:lnTo>
                  <a:lnTo>
                    <a:pt x="248" y="476"/>
                  </a:lnTo>
                  <a:lnTo>
                    <a:pt x="214" y="470"/>
                  </a:lnTo>
                  <a:lnTo>
                    <a:pt x="179" y="464"/>
                  </a:lnTo>
                  <a:lnTo>
                    <a:pt x="143" y="460"/>
                  </a:lnTo>
                  <a:lnTo>
                    <a:pt x="107" y="456"/>
                  </a:lnTo>
                  <a:lnTo>
                    <a:pt x="71" y="452"/>
                  </a:lnTo>
                  <a:lnTo>
                    <a:pt x="36" y="451"/>
                  </a:lnTo>
                  <a:lnTo>
                    <a:pt x="0" y="45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8" name="Freeform 205"/>
            <p:cNvSpPr>
              <a:spLocks/>
            </p:cNvSpPr>
            <p:nvPr/>
          </p:nvSpPr>
          <p:spPr bwMode="auto">
            <a:xfrm>
              <a:off x="1689" y="1898"/>
              <a:ext cx="21" cy="34"/>
            </a:xfrm>
            <a:custGeom>
              <a:avLst/>
              <a:gdLst>
                <a:gd name="T0" fmla="*/ 0 w 865"/>
                <a:gd name="T1" fmla="*/ 0 h 1456"/>
                <a:gd name="T2" fmla="*/ 0 w 865"/>
                <a:gd name="T3" fmla="*/ 0 h 1456"/>
                <a:gd name="T4" fmla="*/ 0 w 865"/>
                <a:gd name="T5" fmla="*/ 0 h 1456"/>
                <a:gd name="T6" fmla="*/ 0 w 865"/>
                <a:gd name="T7" fmla="*/ 0 h 1456"/>
                <a:gd name="T8" fmla="*/ 0 w 865"/>
                <a:gd name="T9" fmla="*/ 0 h 1456"/>
                <a:gd name="T10" fmla="*/ 0 w 865"/>
                <a:gd name="T11" fmla="*/ 0 h 1456"/>
                <a:gd name="T12" fmla="*/ 0 w 865"/>
                <a:gd name="T13" fmla="*/ 0 h 1456"/>
                <a:gd name="T14" fmla="*/ 0 w 865"/>
                <a:gd name="T15" fmla="*/ 0 h 1456"/>
                <a:gd name="T16" fmla="*/ 0 w 865"/>
                <a:gd name="T17" fmla="*/ 0 h 1456"/>
                <a:gd name="T18" fmla="*/ 0 w 865"/>
                <a:gd name="T19" fmla="*/ 0 h 1456"/>
                <a:gd name="T20" fmla="*/ 0 w 865"/>
                <a:gd name="T21" fmla="*/ 0 h 1456"/>
                <a:gd name="T22" fmla="*/ 0 w 865"/>
                <a:gd name="T23" fmla="*/ 0 h 1456"/>
                <a:gd name="T24" fmla="*/ 0 w 865"/>
                <a:gd name="T25" fmla="*/ 0 h 1456"/>
                <a:gd name="T26" fmla="*/ 0 w 865"/>
                <a:gd name="T27" fmla="*/ 0 h 1456"/>
                <a:gd name="T28" fmla="*/ 0 w 865"/>
                <a:gd name="T29" fmla="*/ 0 h 1456"/>
                <a:gd name="T30" fmla="*/ 0 w 865"/>
                <a:gd name="T31" fmla="*/ 0 h 1456"/>
                <a:gd name="T32" fmla="*/ 0 w 865"/>
                <a:gd name="T33" fmla="*/ 0 h 1456"/>
                <a:gd name="T34" fmla="*/ 0 w 865"/>
                <a:gd name="T35" fmla="*/ 0 h 1456"/>
                <a:gd name="T36" fmla="*/ 0 w 865"/>
                <a:gd name="T37" fmla="*/ 0 h 1456"/>
                <a:gd name="T38" fmla="*/ 0 w 865"/>
                <a:gd name="T39" fmla="*/ 0 h 1456"/>
                <a:gd name="T40" fmla="*/ 0 w 865"/>
                <a:gd name="T41" fmla="*/ 0 h 1456"/>
                <a:gd name="T42" fmla="*/ 0 w 865"/>
                <a:gd name="T43" fmla="*/ 0 h 1456"/>
                <a:gd name="T44" fmla="*/ 0 w 865"/>
                <a:gd name="T45" fmla="*/ 0 h 1456"/>
                <a:gd name="T46" fmla="*/ 0 w 865"/>
                <a:gd name="T47" fmla="*/ 0 h 1456"/>
                <a:gd name="T48" fmla="*/ 0 w 865"/>
                <a:gd name="T49" fmla="*/ 0 h 1456"/>
                <a:gd name="T50" fmla="*/ 0 w 865"/>
                <a:gd name="T51" fmla="*/ 0 h 1456"/>
                <a:gd name="T52" fmla="*/ 0 w 865"/>
                <a:gd name="T53" fmla="*/ 0 h 1456"/>
                <a:gd name="T54" fmla="*/ 0 w 865"/>
                <a:gd name="T55" fmla="*/ 0 h 1456"/>
                <a:gd name="T56" fmla="*/ 0 w 865"/>
                <a:gd name="T57" fmla="*/ 0 h 1456"/>
                <a:gd name="T58" fmla="*/ 0 w 865"/>
                <a:gd name="T59" fmla="*/ 0 h 1456"/>
                <a:gd name="T60" fmla="*/ 0 w 865"/>
                <a:gd name="T61" fmla="*/ 0 h 1456"/>
                <a:gd name="T62" fmla="*/ 0 w 865"/>
                <a:gd name="T63" fmla="*/ 0 h 1456"/>
                <a:gd name="T64" fmla="*/ 0 w 865"/>
                <a:gd name="T65" fmla="*/ 0 h 14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5"/>
                <a:gd name="T100" fmla="*/ 0 h 1456"/>
                <a:gd name="T101" fmla="*/ 865 w 865"/>
                <a:gd name="T102" fmla="*/ 1456 h 14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5" h="1456">
                  <a:moveTo>
                    <a:pt x="327" y="0"/>
                  </a:moveTo>
                  <a:lnTo>
                    <a:pt x="357" y="34"/>
                  </a:lnTo>
                  <a:lnTo>
                    <a:pt x="387" y="71"/>
                  </a:lnTo>
                  <a:lnTo>
                    <a:pt x="416" y="108"/>
                  </a:lnTo>
                  <a:lnTo>
                    <a:pt x="445" y="147"/>
                  </a:lnTo>
                  <a:lnTo>
                    <a:pt x="473" y="184"/>
                  </a:lnTo>
                  <a:lnTo>
                    <a:pt x="499" y="224"/>
                  </a:lnTo>
                  <a:lnTo>
                    <a:pt x="525" y="264"/>
                  </a:lnTo>
                  <a:lnTo>
                    <a:pt x="550" y="305"/>
                  </a:lnTo>
                  <a:lnTo>
                    <a:pt x="575" y="347"/>
                  </a:lnTo>
                  <a:lnTo>
                    <a:pt x="599" y="388"/>
                  </a:lnTo>
                  <a:lnTo>
                    <a:pt x="621" y="431"/>
                  </a:lnTo>
                  <a:lnTo>
                    <a:pt x="642" y="475"/>
                  </a:lnTo>
                  <a:lnTo>
                    <a:pt x="664" y="518"/>
                  </a:lnTo>
                  <a:lnTo>
                    <a:pt x="683" y="564"/>
                  </a:lnTo>
                  <a:lnTo>
                    <a:pt x="702" y="609"/>
                  </a:lnTo>
                  <a:lnTo>
                    <a:pt x="721" y="655"/>
                  </a:lnTo>
                  <a:lnTo>
                    <a:pt x="737" y="701"/>
                  </a:lnTo>
                  <a:lnTo>
                    <a:pt x="753" y="749"/>
                  </a:lnTo>
                  <a:lnTo>
                    <a:pt x="768" y="796"/>
                  </a:lnTo>
                  <a:lnTo>
                    <a:pt x="783" y="845"/>
                  </a:lnTo>
                  <a:lnTo>
                    <a:pt x="795" y="892"/>
                  </a:lnTo>
                  <a:lnTo>
                    <a:pt x="807" y="941"/>
                  </a:lnTo>
                  <a:lnTo>
                    <a:pt x="817" y="991"/>
                  </a:lnTo>
                  <a:lnTo>
                    <a:pt x="828" y="1041"/>
                  </a:lnTo>
                  <a:lnTo>
                    <a:pt x="836" y="1091"/>
                  </a:lnTo>
                  <a:lnTo>
                    <a:pt x="844" y="1142"/>
                  </a:lnTo>
                  <a:lnTo>
                    <a:pt x="850" y="1193"/>
                  </a:lnTo>
                  <a:lnTo>
                    <a:pt x="855" y="1245"/>
                  </a:lnTo>
                  <a:lnTo>
                    <a:pt x="860" y="1298"/>
                  </a:lnTo>
                  <a:lnTo>
                    <a:pt x="863" y="1350"/>
                  </a:lnTo>
                  <a:lnTo>
                    <a:pt x="865" y="1403"/>
                  </a:lnTo>
                  <a:lnTo>
                    <a:pt x="865" y="1456"/>
                  </a:lnTo>
                  <a:lnTo>
                    <a:pt x="424" y="1456"/>
                  </a:lnTo>
                  <a:lnTo>
                    <a:pt x="424" y="1414"/>
                  </a:lnTo>
                  <a:lnTo>
                    <a:pt x="422" y="1372"/>
                  </a:lnTo>
                  <a:lnTo>
                    <a:pt x="420" y="1331"/>
                  </a:lnTo>
                  <a:lnTo>
                    <a:pt x="416" y="1289"/>
                  </a:lnTo>
                  <a:lnTo>
                    <a:pt x="412" y="1248"/>
                  </a:lnTo>
                  <a:lnTo>
                    <a:pt x="407" y="1208"/>
                  </a:lnTo>
                  <a:lnTo>
                    <a:pt x="401" y="1167"/>
                  </a:lnTo>
                  <a:lnTo>
                    <a:pt x="395" y="1126"/>
                  </a:lnTo>
                  <a:lnTo>
                    <a:pt x="387" y="1087"/>
                  </a:lnTo>
                  <a:lnTo>
                    <a:pt x="378" y="1049"/>
                  </a:lnTo>
                  <a:lnTo>
                    <a:pt x="369" y="1009"/>
                  </a:lnTo>
                  <a:lnTo>
                    <a:pt x="359" y="970"/>
                  </a:lnTo>
                  <a:lnTo>
                    <a:pt x="347" y="933"/>
                  </a:lnTo>
                  <a:lnTo>
                    <a:pt x="336" y="894"/>
                  </a:lnTo>
                  <a:lnTo>
                    <a:pt x="323" y="858"/>
                  </a:lnTo>
                  <a:lnTo>
                    <a:pt x="310" y="820"/>
                  </a:lnTo>
                  <a:lnTo>
                    <a:pt x="296" y="785"/>
                  </a:lnTo>
                  <a:lnTo>
                    <a:pt x="281" y="749"/>
                  </a:lnTo>
                  <a:lnTo>
                    <a:pt x="265" y="713"/>
                  </a:lnTo>
                  <a:lnTo>
                    <a:pt x="249" y="678"/>
                  </a:lnTo>
                  <a:lnTo>
                    <a:pt x="231" y="644"/>
                  </a:lnTo>
                  <a:lnTo>
                    <a:pt x="214" y="610"/>
                  </a:lnTo>
                  <a:lnTo>
                    <a:pt x="195" y="576"/>
                  </a:lnTo>
                  <a:lnTo>
                    <a:pt x="176" y="545"/>
                  </a:lnTo>
                  <a:lnTo>
                    <a:pt x="157" y="512"/>
                  </a:lnTo>
                  <a:lnTo>
                    <a:pt x="135" y="480"/>
                  </a:lnTo>
                  <a:lnTo>
                    <a:pt x="115" y="450"/>
                  </a:lnTo>
                  <a:lnTo>
                    <a:pt x="93" y="419"/>
                  </a:lnTo>
                  <a:lnTo>
                    <a:pt x="71" y="389"/>
                  </a:lnTo>
                  <a:lnTo>
                    <a:pt x="47" y="360"/>
                  </a:lnTo>
                  <a:lnTo>
                    <a:pt x="23" y="331"/>
                  </a:lnTo>
                  <a:lnTo>
                    <a:pt x="0" y="304"/>
                  </a:lnTo>
                  <a:lnTo>
                    <a:pt x="327" y="0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39" name="Rectangle 206"/>
            <p:cNvSpPr>
              <a:spLocks noChangeArrowheads="1"/>
            </p:cNvSpPr>
            <p:nvPr/>
          </p:nvSpPr>
          <p:spPr bwMode="auto">
            <a:xfrm>
              <a:off x="1699" y="1932"/>
              <a:ext cx="11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40" name="Rectangle 207"/>
            <p:cNvSpPr>
              <a:spLocks noChangeArrowheads="1"/>
            </p:cNvSpPr>
            <p:nvPr/>
          </p:nvSpPr>
          <p:spPr bwMode="auto">
            <a:xfrm>
              <a:off x="1699" y="1932"/>
              <a:ext cx="11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41" name="Freeform 208"/>
            <p:cNvSpPr>
              <a:spLocks/>
            </p:cNvSpPr>
            <p:nvPr/>
          </p:nvSpPr>
          <p:spPr bwMode="auto">
            <a:xfrm>
              <a:off x="1689" y="1932"/>
              <a:ext cx="21" cy="34"/>
            </a:xfrm>
            <a:custGeom>
              <a:avLst/>
              <a:gdLst>
                <a:gd name="T0" fmla="*/ 0 w 866"/>
                <a:gd name="T1" fmla="*/ 0 h 1458"/>
                <a:gd name="T2" fmla="*/ 0 w 866"/>
                <a:gd name="T3" fmla="*/ 0 h 1458"/>
                <a:gd name="T4" fmla="*/ 0 w 866"/>
                <a:gd name="T5" fmla="*/ 0 h 1458"/>
                <a:gd name="T6" fmla="*/ 0 w 866"/>
                <a:gd name="T7" fmla="*/ 0 h 1458"/>
                <a:gd name="T8" fmla="*/ 0 w 866"/>
                <a:gd name="T9" fmla="*/ 0 h 1458"/>
                <a:gd name="T10" fmla="*/ 0 w 866"/>
                <a:gd name="T11" fmla="*/ 0 h 1458"/>
                <a:gd name="T12" fmla="*/ 0 w 866"/>
                <a:gd name="T13" fmla="*/ 0 h 1458"/>
                <a:gd name="T14" fmla="*/ 0 w 866"/>
                <a:gd name="T15" fmla="*/ 0 h 1458"/>
                <a:gd name="T16" fmla="*/ 0 w 866"/>
                <a:gd name="T17" fmla="*/ 0 h 1458"/>
                <a:gd name="T18" fmla="*/ 0 w 866"/>
                <a:gd name="T19" fmla="*/ 0 h 1458"/>
                <a:gd name="T20" fmla="*/ 0 w 866"/>
                <a:gd name="T21" fmla="*/ 0 h 1458"/>
                <a:gd name="T22" fmla="*/ 0 w 866"/>
                <a:gd name="T23" fmla="*/ 0 h 1458"/>
                <a:gd name="T24" fmla="*/ 0 w 866"/>
                <a:gd name="T25" fmla="*/ 0 h 1458"/>
                <a:gd name="T26" fmla="*/ 0 w 866"/>
                <a:gd name="T27" fmla="*/ 0 h 1458"/>
                <a:gd name="T28" fmla="*/ 0 w 866"/>
                <a:gd name="T29" fmla="*/ 0 h 1458"/>
                <a:gd name="T30" fmla="*/ 0 w 866"/>
                <a:gd name="T31" fmla="*/ 0 h 1458"/>
                <a:gd name="T32" fmla="*/ 0 w 866"/>
                <a:gd name="T33" fmla="*/ 0 h 1458"/>
                <a:gd name="T34" fmla="*/ 0 w 866"/>
                <a:gd name="T35" fmla="*/ 0 h 1458"/>
                <a:gd name="T36" fmla="*/ 0 w 866"/>
                <a:gd name="T37" fmla="*/ 0 h 1458"/>
                <a:gd name="T38" fmla="*/ 0 w 866"/>
                <a:gd name="T39" fmla="*/ 0 h 1458"/>
                <a:gd name="T40" fmla="*/ 0 w 866"/>
                <a:gd name="T41" fmla="*/ 0 h 1458"/>
                <a:gd name="T42" fmla="*/ 0 w 866"/>
                <a:gd name="T43" fmla="*/ 0 h 1458"/>
                <a:gd name="T44" fmla="*/ 0 w 866"/>
                <a:gd name="T45" fmla="*/ 0 h 1458"/>
                <a:gd name="T46" fmla="*/ 0 w 866"/>
                <a:gd name="T47" fmla="*/ 0 h 1458"/>
                <a:gd name="T48" fmla="*/ 0 w 866"/>
                <a:gd name="T49" fmla="*/ 0 h 1458"/>
                <a:gd name="T50" fmla="*/ 0 w 866"/>
                <a:gd name="T51" fmla="*/ 0 h 1458"/>
                <a:gd name="T52" fmla="*/ 0 w 866"/>
                <a:gd name="T53" fmla="*/ 0 h 1458"/>
                <a:gd name="T54" fmla="*/ 0 w 866"/>
                <a:gd name="T55" fmla="*/ 0 h 1458"/>
                <a:gd name="T56" fmla="*/ 0 w 866"/>
                <a:gd name="T57" fmla="*/ 0 h 1458"/>
                <a:gd name="T58" fmla="*/ 0 w 866"/>
                <a:gd name="T59" fmla="*/ 0 h 1458"/>
                <a:gd name="T60" fmla="*/ 0 w 866"/>
                <a:gd name="T61" fmla="*/ 0 h 1458"/>
                <a:gd name="T62" fmla="*/ 0 w 866"/>
                <a:gd name="T63" fmla="*/ 0 h 1458"/>
                <a:gd name="T64" fmla="*/ 0 w 866"/>
                <a:gd name="T65" fmla="*/ 0 h 145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6"/>
                <a:gd name="T100" fmla="*/ 0 h 1458"/>
                <a:gd name="T101" fmla="*/ 866 w 866"/>
                <a:gd name="T102" fmla="*/ 1458 h 145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6" h="1458">
                  <a:moveTo>
                    <a:pt x="866" y="0"/>
                  </a:moveTo>
                  <a:lnTo>
                    <a:pt x="866" y="53"/>
                  </a:lnTo>
                  <a:lnTo>
                    <a:pt x="864" y="106"/>
                  </a:lnTo>
                  <a:lnTo>
                    <a:pt x="861" y="159"/>
                  </a:lnTo>
                  <a:lnTo>
                    <a:pt x="856" y="210"/>
                  </a:lnTo>
                  <a:lnTo>
                    <a:pt x="851" y="263"/>
                  </a:lnTo>
                  <a:lnTo>
                    <a:pt x="845" y="314"/>
                  </a:lnTo>
                  <a:lnTo>
                    <a:pt x="837" y="364"/>
                  </a:lnTo>
                  <a:lnTo>
                    <a:pt x="829" y="415"/>
                  </a:lnTo>
                  <a:lnTo>
                    <a:pt x="818" y="465"/>
                  </a:lnTo>
                  <a:lnTo>
                    <a:pt x="808" y="515"/>
                  </a:lnTo>
                  <a:lnTo>
                    <a:pt x="796" y="564"/>
                  </a:lnTo>
                  <a:lnTo>
                    <a:pt x="784" y="613"/>
                  </a:lnTo>
                  <a:lnTo>
                    <a:pt x="769" y="661"/>
                  </a:lnTo>
                  <a:lnTo>
                    <a:pt x="754" y="709"/>
                  </a:lnTo>
                  <a:lnTo>
                    <a:pt x="738" y="755"/>
                  </a:lnTo>
                  <a:lnTo>
                    <a:pt x="722" y="802"/>
                  </a:lnTo>
                  <a:lnTo>
                    <a:pt x="703" y="848"/>
                  </a:lnTo>
                  <a:lnTo>
                    <a:pt x="684" y="893"/>
                  </a:lnTo>
                  <a:lnTo>
                    <a:pt x="665" y="937"/>
                  </a:lnTo>
                  <a:lnTo>
                    <a:pt x="643" y="982"/>
                  </a:lnTo>
                  <a:lnTo>
                    <a:pt x="622" y="1025"/>
                  </a:lnTo>
                  <a:lnTo>
                    <a:pt x="600" y="1069"/>
                  </a:lnTo>
                  <a:lnTo>
                    <a:pt x="576" y="1111"/>
                  </a:lnTo>
                  <a:lnTo>
                    <a:pt x="551" y="1152"/>
                  </a:lnTo>
                  <a:lnTo>
                    <a:pt x="526" y="1193"/>
                  </a:lnTo>
                  <a:lnTo>
                    <a:pt x="500" y="1233"/>
                  </a:lnTo>
                  <a:lnTo>
                    <a:pt x="473" y="1272"/>
                  </a:lnTo>
                  <a:lnTo>
                    <a:pt x="446" y="1311"/>
                  </a:lnTo>
                  <a:lnTo>
                    <a:pt x="417" y="1350"/>
                  </a:lnTo>
                  <a:lnTo>
                    <a:pt x="388" y="1385"/>
                  </a:lnTo>
                  <a:lnTo>
                    <a:pt x="358" y="1422"/>
                  </a:lnTo>
                  <a:lnTo>
                    <a:pt x="327" y="1458"/>
                  </a:lnTo>
                  <a:lnTo>
                    <a:pt x="0" y="1154"/>
                  </a:lnTo>
                  <a:lnTo>
                    <a:pt x="24" y="1126"/>
                  </a:lnTo>
                  <a:lnTo>
                    <a:pt x="48" y="1098"/>
                  </a:lnTo>
                  <a:lnTo>
                    <a:pt x="71" y="1068"/>
                  </a:lnTo>
                  <a:lnTo>
                    <a:pt x="94" y="1038"/>
                  </a:lnTo>
                  <a:lnTo>
                    <a:pt x="115" y="1008"/>
                  </a:lnTo>
                  <a:lnTo>
                    <a:pt x="136" y="977"/>
                  </a:lnTo>
                  <a:lnTo>
                    <a:pt x="157" y="945"/>
                  </a:lnTo>
                  <a:lnTo>
                    <a:pt x="177" y="913"/>
                  </a:lnTo>
                  <a:lnTo>
                    <a:pt x="196" y="880"/>
                  </a:lnTo>
                  <a:lnTo>
                    <a:pt x="215" y="847"/>
                  </a:lnTo>
                  <a:lnTo>
                    <a:pt x="232" y="813"/>
                  </a:lnTo>
                  <a:lnTo>
                    <a:pt x="250" y="778"/>
                  </a:lnTo>
                  <a:lnTo>
                    <a:pt x="266" y="743"/>
                  </a:lnTo>
                  <a:lnTo>
                    <a:pt x="282" y="708"/>
                  </a:lnTo>
                  <a:lnTo>
                    <a:pt x="297" y="672"/>
                  </a:lnTo>
                  <a:lnTo>
                    <a:pt x="311" y="635"/>
                  </a:lnTo>
                  <a:lnTo>
                    <a:pt x="324" y="600"/>
                  </a:lnTo>
                  <a:lnTo>
                    <a:pt x="337" y="562"/>
                  </a:lnTo>
                  <a:lnTo>
                    <a:pt x="348" y="524"/>
                  </a:lnTo>
                  <a:lnTo>
                    <a:pt x="360" y="485"/>
                  </a:lnTo>
                  <a:lnTo>
                    <a:pt x="370" y="448"/>
                  </a:lnTo>
                  <a:lnTo>
                    <a:pt x="379" y="409"/>
                  </a:lnTo>
                  <a:lnTo>
                    <a:pt x="388" y="369"/>
                  </a:lnTo>
                  <a:lnTo>
                    <a:pt x="396" y="329"/>
                  </a:lnTo>
                  <a:lnTo>
                    <a:pt x="402" y="289"/>
                  </a:lnTo>
                  <a:lnTo>
                    <a:pt x="408" y="249"/>
                  </a:lnTo>
                  <a:lnTo>
                    <a:pt x="413" y="208"/>
                  </a:lnTo>
                  <a:lnTo>
                    <a:pt x="418" y="167"/>
                  </a:lnTo>
                  <a:lnTo>
                    <a:pt x="421" y="126"/>
                  </a:lnTo>
                  <a:lnTo>
                    <a:pt x="423" y="83"/>
                  </a:lnTo>
                  <a:lnTo>
                    <a:pt x="425" y="43"/>
                  </a:lnTo>
                  <a:lnTo>
                    <a:pt x="425" y="0"/>
                  </a:lnTo>
                  <a:lnTo>
                    <a:pt x="866" y="0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42" name="Freeform 209"/>
            <p:cNvSpPr>
              <a:spLocks/>
            </p:cNvSpPr>
            <p:nvPr/>
          </p:nvSpPr>
          <p:spPr bwMode="auto">
            <a:xfrm>
              <a:off x="1665" y="1959"/>
              <a:ext cx="32" cy="21"/>
            </a:xfrm>
            <a:custGeom>
              <a:avLst/>
              <a:gdLst>
                <a:gd name="T0" fmla="*/ 0 w 1325"/>
                <a:gd name="T1" fmla="*/ 0 h 918"/>
                <a:gd name="T2" fmla="*/ 0 w 1325"/>
                <a:gd name="T3" fmla="*/ 0 h 918"/>
                <a:gd name="T4" fmla="*/ 0 w 1325"/>
                <a:gd name="T5" fmla="*/ 0 h 918"/>
                <a:gd name="T6" fmla="*/ 0 w 1325"/>
                <a:gd name="T7" fmla="*/ 0 h 918"/>
                <a:gd name="T8" fmla="*/ 0 w 1325"/>
                <a:gd name="T9" fmla="*/ 0 h 918"/>
                <a:gd name="T10" fmla="*/ 0 w 1325"/>
                <a:gd name="T11" fmla="*/ 0 h 918"/>
                <a:gd name="T12" fmla="*/ 0 w 1325"/>
                <a:gd name="T13" fmla="*/ 0 h 918"/>
                <a:gd name="T14" fmla="*/ 0 w 1325"/>
                <a:gd name="T15" fmla="*/ 0 h 918"/>
                <a:gd name="T16" fmla="*/ 0 w 1325"/>
                <a:gd name="T17" fmla="*/ 0 h 918"/>
                <a:gd name="T18" fmla="*/ 0 w 1325"/>
                <a:gd name="T19" fmla="*/ 0 h 918"/>
                <a:gd name="T20" fmla="*/ 0 w 1325"/>
                <a:gd name="T21" fmla="*/ 0 h 918"/>
                <a:gd name="T22" fmla="*/ 0 w 1325"/>
                <a:gd name="T23" fmla="*/ 0 h 918"/>
                <a:gd name="T24" fmla="*/ 0 w 1325"/>
                <a:gd name="T25" fmla="*/ 0 h 918"/>
                <a:gd name="T26" fmla="*/ 0 w 1325"/>
                <a:gd name="T27" fmla="*/ 0 h 918"/>
                <a:gd name="T28" fmla="*/ 0 w 1325"/>
                <a:gd name="T29" fmla="*/ 0 h 918"/>
                <a:gd name="T30" fmla="*/ 0 w 1325"/>
                <a:gd name="T31" fmla="*/ 0 h 918"/>
                <a:gd name="T32" fmla="*/ 0 w 1325"/>
                <a:gd name="T33" fmla="*/ 0 h 918"/>
                <a:gd name="T34" fmla="*/ 0 w 1325"/>
                <a:gd name="T35" fmla="*/ 0 h 918"/>
                <a:gd name="T36" fmla="*/ 0 w 1325"/>
                <a:gd name="T37" fmla="*/ 0 h 918"/>
                <a:gd name="T38" fmla="*/ 0 w 1325"/>
                <a:gd name="T39" fmla="*/ 0 h 918"/>
                <a:gd name="T40" fmla="*/ 0 w 1325"/>
                <a:gd name="T41" fmla="*/ 0 h 918"/>
                <a:gd name="T42" fmla="*/ 0 w 1325"/>
                <a:gd name="T43" fmla="*/ 0 h 918"/>
                <a:gd name="T44" fmla="*/ 0 w 1325"/>
                <a:gd name="T45" fmla="*/ 0 h 918"/>
                <a:gd name="T46" fmla="*/ 0 w 1325"/>
                <a:gd name="T47" fmla="*/ 0 h 918"/>
                <a:gd name="T48" fmla="*/ 0 w 1325"/>
                <a:gd name="T49" fmla="*/ 0 h 918"/>
                <a:gd name="T50" fmla="*/ 0 w 1325"/>
                <a:gd name="T51" fmla="*/ 0 h 918"/>
                <a:gd name="T52" fmla="*/ 0 w 1325"/>
                <a:gd name="T53" fmla="*/ 0 h 918"/>
                <a:gd name="T54" fmla="*/ 0 w 1325"/>
                <a:gd name="T55" fmla="*/ 0 h 918"/>
                <a:gd name="T56" fmla="*/ 0 w 1325"/>
                <a:gd name="T57" fmla="*/ 0 h 918"/>
                <a:gd name="T58" fmla="*/ 0 w 1325"/>
                <a:gd name="T59" fmla="*/ 0 h 918"/>
                <a:gd name="T60" fmla="*/ 0 w 1325"/>
                <a:gd name="T61" fmla="*/ 0 h 918"/>
                <a:gd name="T62" fmla="*/ 0 w 1325"/>
                <a:gd name="T63" fmla="*/ 0 h 918"/>
                <a:gd name="T64" fmla="*/ 0 w 1325"/>
                <a:gd name="T65" fmla="*/ 0 h 91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25"/>
                <a:gd name="T100" fmla="*/ 0 h 918"/>
                <a:gd name="T101" fmla="*/ 1325 w 1325"/>
                <a:gd name="T102" fmla="*/ 918 h 91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25" h="918">
                  <a:moveTo>
                    <a:pt x="1325" y="304"/>
                  </a:moveTo>
                  <a:lnTo>
                    <a:pt x="1293" y="339"/>
                  </a:lnTo>
                  <a:lnTo>
                    <a:pt x="1260" y="373"/>
                  </a:lnTo>
                  <a:lnTo>
                    <a:pt x="1226" y="407"/>
                  </a:lnTo>
                  <a:lnTo>
                    <a:pt x="1193" y="439"/>
                  </a:lnTo>
                  <a:lnTo>
                    <a:pt x="1158" y="470"/>
                  </a:lnTo>
                  <a:lnTo>
                    <a:pt x="1122" y="501"/>
                  </a:lnTo>
                  <a:lnTo>
                    <a:pt x="1085" y="530"/>
                  </a:lnTo>
                  <a:lnTo>
                    <a:pt x="1048" y="560"/>
                  </a:lnTo>
                  <a:lnTo>
                    <a:pt x="1011" y="587"/>
                  </a:lnTo>
                  <a:lnTo>
                    <a:pt x="973" y="615"/>
                  </a:lnTo>
                  <a:lnTo>
                    <a:pt x="933" y="640"/>
                  </a:lnTo>
                  <a:lnTo>
                    <a:pt x="895" y="665"/>
                  </a:lnTo>
                  <a:lnTo>
                    <a:pt x="854" y="688"/>
                  </a:lnTo>
                  <a:lnTo>
                    <a:pt x="813" y="711"/>
                  </a:lnTo>
                  <a:lnTo>
                    <a:pt x="773" y="732"/>
                  </a:lnTo>
                  <a:lnTo>
                    <a:pt x="730" y="753"/>
                  </a:lnTo>
                  <a:lnTo>
                    <a:pt x="688" y="773"/>
                  </a:lnTo>
                  <a:lnTo>
                    <a:pt x="645" y="790"/>
                  </a:lnTo>
                  <a:lnTo>
                    <a:pt x="602" y="808"/>
                  </a:lnTo>
                  <a:lnTo>
                    <a:pt x="558" y="824"/>
                  </a:lnTo>
                  <a:lnTo>
                    <a:pt x="513" y="838"/>
                  </a:lnTo>
                  <a:lnTo>
                    <a:pt x="469" y="852"/>
                  </a:lnTo>
                  <a:lnTo>
                    <a:pt x="424" y="864"/>
                  </a:lnTo>
                  <a:lnTo>
                    <a:pt x="378" y="875"/>
                  </a:lnTo>
                  <a:lnTo>
                    <a:pt x="333" y="885"/>
                  </a:lnTo>
                  <a:lnTo>
                    <a:pt x="286" y="894"/>
                  </a:lnTo>
                  <a:lnTo>
                    <a:pt x="239" y="901"/>
                  </a:lnTo>
                  <a:lnTo>
                    <a:pt x="192" y="907"/>
                  </a:lnTo>
                  <a:lnTo>
                    <a:pt x="144" y="912"/>
                  </a:lnTo>
                  <a:lnTo>
                    <a:pt x="96" y="915"/>
                  </a:lnTo>
                  <a:lnTo>
                    <a:pt x="48" y="918"/>
                  </a:lnTo>
                  <a:lnTo>
                    <a:pt x="0" y="918"/>
                  </a:lnTo>
                  <a:lnTo>
                    <a:pt x="0" y="468"/>
                  </a:lnTo>
                  <a:lnTo>
                    <a:pt x="37" y="468"/>
                  </a:lnTo>
                  <a:lnTo>
                    <a:pt x="72" y="466"/>
                  </a:lnTo>
                  <a:lnTo>
                    <a:pt x="108" y="464"/>
                  </a:lnTo>
                  <a:lnTo>
                    <a:pt x="144" y="460"/>
                  </a:lnTo>
                  <a:lnTo>
                    <a:pt x="179" y="455"/>
                  </a:lnTo>
                  <a:lnTo>
                    <a:pt x="214" y="450"/>
                  </a:lnTo>
                  <a:lnTo>
                    <a:pt x="248" y="442"/>
                  </a:lnTo>
                  <a:lnTo>
                    <a:pt x="283" y="435"/>
                  </a:lnTo>
                  <a:lnTo>
                    <a:pt x="317" y="427"/>
                  </a:lnTo>
                  <a:lnTo>
                    <a:pt x="352" y="417"/>
                  </a:lnTo>
                  <a:lnTo>
                    <a:pt x="385" y="408"/>
                  </a:lnTo>
                  <a:lnTo>
                    <a:pt x="419" y="396"/>
                  </a:lnTo>
                  <a:lnTo>
                    <a:pt x="452" y="383"/>
                  </a:lnTo>
                  <a:lnTo>
                    <a:pt x="483" y="371"/>
                  </a:lnTo>
                  <a:lnTo>
                    <a:pt x="516" y="357"/>
                  </a:lnTo>
                  <a:lnTo>
                    <a:pt x="548" y="342"/>
                  </a:lnTo>
                  <a:lnTo>
                    <a:pt x="579" y="326"/>
                  </a:lnTo>
                  <a:lnTo>
                    <a:pt x="610" y="311"/>
                  </a:lnTo>
                  <a:lnTo>
                    <a:pt x="641" y="292"/>
                  </a:lnTo>
                  <a:lnTo>
                    <a:pt x="671" y="275"/>
                  </a:lnTo>
                  <a:lnTo>
                    <a:pt x="701" y="257"/>
                  </a:lnTo>
                  <a:lnTo>
                    <a:pt x="731" y="236"/>
                  </a:lnTo>
                  <a:lnTo>
                    <a:pt x="759" y="216"/>
                  </a:lnTo>
                  <a:lnTo>
                    <a:pt x="788" y="196"/>
                  </a:lnTo>
                  <a:lnTo>
                    <a:pt x="816" y="173"/>
                  </a:lnTo>
                  <a:lnTo>
                    <a:pt x="843" y="151"/>
                  </a:lnTo>
                  <a:lnTo>
                    <a:pt x="870" y="127"/>
                  </a:lnTo>
                  <a:lnTo>
                    <a:pt x="897" y="104"/>
                  </a:lnTo>
                  <a:lnTo>
                    <a:pt x="924" y="79"/>
                  </a:lnTo>
                  <a:lnTo>
                    <a:pt x="949" y="53"/>
                  </a:lnTo>
                  <a:lnTo>
                    <a:pt x="974" y="26"/>
                  </a:lnTo>
                  <a:lnTo>
                    <a:pt x="998" y="0"/>
                  </a:lnTo>
                  <a:lnTo>
                    <a:pt x="1325" y="304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43" name="Rectangle 210"/>
            <p:cNvSpPr>
              <a:spLocks noChangeArrowheads="1"/>
            </p:cNvSpPr>
            <p:nvPr/>
          </p:nvSpPr>
          <p:spPr bwMode="auto">
            <a:xfrm>
              <a:off x="1665" y="1970"/>
              <a:ext cx="1" cy="10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44" name="Rectangle 211"/>
            <p:cNvSpPr>
              <a:spLocks noChangeArrowheads="1"/>
            </p:cNvSpPr>
            <p:nvPr/>
          </p:nvSpPr>
          <p:spPr bwMode="auto">
            <a:xfrm>
              <a:off x="1665" y="1970"/>
              <a:ext cx="1" cy="10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45" name="Freeform 212"/>
            <p:cNvSpPr>
              <a:spLocks/>
            </p:cNvSpPr>
            <p:nvPr/>
          </p:nvSpPr>
          <p:spPr bwMode="auto">
            <a:xfrm>
              <a:off x="1634" y="1959"/>
              <a:ext cx="31" cy="21"/>
            </a:xfrm>
            <a:custGeom>
              <a:avLst/>
              <a:gdLst>
                <a:gd name="T0" fmla="*/ 0 w 1326"/>
                <a:gd name="T1" fmla="*/ 0 h 918"/>
                <a:gd name="T2" fmla="*/ 0 w 1326"/>
                <a:gd name="T3" fmla="*/ 0 h 918"/>
                <a:gd name="T4" fmla="*/ 0 w 1326"/>
                <a:gd name="T5" fmla="*/ 0 h 918"/>
                <a:gd name="T6" fmla="*/ 0 w 1326"/>
                <a:gd name="T7" fmla="*/ 0 h 918"/>
                <a:gd name="T8" fmla="*/ 0 w 1326"/>
                <a:gd name="T9" fmla="*/ 0 h 918"/>
                <a:gd name="T10" fmla="*/ 0 w 1326"/>
                <a:gd name="T11" fmla="*/ 0 h 918"/>
                <a:gd name="T12" fmla="*/ 0 w 1326"/>
                <a:gd name="T13" fmla="*/ 0 h 918"/>
                <a:gd name="T14" fmla="*/ 0 w 1326"/>
                <a:gd name="T15" fmla="*/ 0 h 918"/>
                <a:gd name="T16" fmla="*/ 0 w 1326"/>
                <a:gd name="T17" fmla="*/ 0 h 918"/>
                <a:gd name="T18" fmla="*/ 0 w 1326"/>
                <a:gd name="T19" fmla="*/ 0 h 918"/>
                <a:gd name="T20" fmla="*/ 0 w 1326"/>
                <a:gd name="T21" fmla="*/ 0 h 918"/>
                <a:gd name="T22" fmla="*/ 0 w 1326"/>
                <a:gd name="T23" fmla="*/ 0 h 918"/>
                <a:gd name="T24" fmla="*/ 0 w 1326"/>
                <a:gd name="T25" fmla="*/ 0 h 918"/>
                <a:gd name="T26" fmla="*/ 0 w 1326"/>
                <a:gd name="T27" fmla="*/ 0 h 918"/>
                <a:gd name="T28" fmla="*/ 0 w 1326"/>
                <a:gd name="T29" fmla="*/ 0 h 918"/>
                <a:gd name="T30" fmla="*/ 0 w 1326"/>
                <a:gd name="T31" fmla="*/ 0 h 918"/>
                <a:gd name="T32" fmla="*/ 0 w 1326"/>
                <a:gd name="T33" fmla="*/ 0 h 918"/>
                <a:gd name="T34" fmla="*/ 0 w 1326"/>
                <a:gd name="T35" fmla="*/ 0 h 918"/>
                <a:gd name="T36" fmla="*/ 0 w 1326"/>
                <a:gd name="T37" fmla="*/ 0 h 918"/>
                <a:gd name="T38" fmla="*/ 0 w 1326"/>
                <a:gd name="T39" fmla="*/ 0 h 918"/>
                <a:gd name="T40" fmla="*/ 0 w 1326"/>
                <a:gd name="T41" fmla="*/ 0 h 918"/>
                <a:gd name="T42" fmla="*/ 0 w 1326"/>
                <a:gd name="T43" fmla="*/ 0 h 918"/>
                <a:gd name="T44" fmla="*/ 0 w 1326"/>
                <a:gd name="T45" fmla="*/ 0 h 918"/>
                <a:gd name="T46" fmla="*/ 0 w 1326"/>
                <a:gd name="T47" fmla="*/ 0 h 918"/>
                <a:gd name="T48" fmla="*/ 0 w 1326"/>
                <a:gd name="T49" fmla="*/ 0 h 918"/>
                <a:gd name="T50" fmla="*/ 0 w 1326"/>
                <a:gd name="T51" fmla="*/ 0 h 918"/>
                <a:gd name="T52" fmla="*/ 0 w 1326"/>
                <a:gd name="T53" fmla="*/ 0 h 918"/>
                <a:gd name="T54" fmla="*/ 0 w 1326"/>
                <a:gd name="T55" fmla="*/ 0 h 918"/>
                <a:gd name="T56" fmla="*/ 0 w 1326"/>
                <a:gd name="T57" fmla="*/ 0 h 918"/>
                <a:gd name="T58" fmla="*/ 0 w 1326"/>
                <a:gd name="T59" fmla="*/ 0 h 918"/>
                <a:gd name="T60" fmla="*/ 0 w 1326"/>
                <a:gd name="T61" fmla="*/ 0 h 918"/>
                <a:gd name="T62" fmla="*/ 0 w 1326"/>
                <a:gd name="T63" fmla="*/ 0 h 918"/>
                <a:gd name="T64" fmla="*/ 0 w 1326"/>
                <a:gd name="T65" fmla="*/ 0 h 91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26"/>
                <a:gd name="T100" fmla="*/ 0 h 918"/>
                <a:gd name="T101" fmla="*/ 1326 w 1326"/>
                <a:gd name="T102" fmla="*/ 918 h 91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26" h="918">
                  <a:moveTo>
                    <a:pt x="1326" y="918"/>
                  </a:moveTo>
                  <a:lnTo>
                    <a:pt x="1278" y="918"/>
                  </a:lnTo>
                  <a:lnTo>
                    <a:pt x="1229" y="915"/>
                  </a:lnTo>
                  <a:lnTo>
                    <a:pt x="1181" y="912"/>
                  </a:lnTo>
                  <a:lnTo>
                    <a:pt x="1133" y="907"/>
                  </a:lnTo>
                  <a:lnTo>
                    <a:pt x="1086" y="901"/>
                  </a:lnTo>
                  <a:lnTo>
                    <a:pt x="1040" y="894"/>
                  </a:lnTo>
                  <a:lnTo>
                    <a:pt x="993" y="885"/>
                  </a:lnTo>
                  <a:lnTo>
                    <a:pt x="947" y="875"/>
                  </a:lnTo>
                  <a:lnTo>
                    <a:pt x="901" y="864"/>
                  </a:lnTo>
                  <a:lnTo>
                    <a:pt x="856" y="852"/>
                  </a:lnTo>
                  <a:lnTo>
                    <a:pt x="811" y="837"/>
                  </a:lnTo>
                  <a:lnTo>
                    <a:pt x="767" y="823"/>
                  </a:lnTo>
                  <a:lnTo>
                    <a:pt x="723" y="807"/>
                  </a:lnTo>
                  <a:lnTo>
                    <a:pt x="680" y="790"/>
                  </a:lnTo>
                  <a:lnTo>
                    <a:pt x="637" y="773"/>
                  </a:lnTo>
                  <a:lnTo>
                    <a:pt x="594" y="753"/>
                  </a:lnTo>
                  <a:lnTo>
                    <a:pt x="553" y="732"/>
                  </a:lnTo>
                  <a:lnTo>
                    <a:pt x="511" y="711"/>
                  </a:lnTo>
                  <a:lnTo>
                    <a:pt x="471" y="688"/>
                  </a:lnTo>
                  <a:lnTo>
                    <a:pt x="431" y="664"/>
                  </a:lnTo>
                  <a:lnTo>
                    <a:pt x="391" y="639"/>
                  </a:lnTo>
                  <a:lnTo>
                    <a:pt x="352" y="614"/>
                  </a:lnTo>
                  <a:lnTo>
                    <a:pt x="314" y="587"/>
                  </a:lnTo>
                  <a:lnTo>
                    <a:pt x="276" y="560"/>
                  </a:lnTo>
                  <a:lnTo>
                    <a:pt x="240" y="530"/>
                  </a:lnTo>
                  <a:lnTo>
                    <a:pt x="203" y="501"/>
                  </a:lnTo>
                  <a:lnTo>
                    <a:pt x="167" y="470"/>
                  </a:lnTo>
                  <a:lnTo>
                    <a:pt x="132" y="439"/>
                  </a:lnTo>
                  <a:lnTo>
                    <a:pt x="98" y="407"/>
                  </a:lnTo>
                  <a:lnTo>
                    <a:pt x="65" y="373"/>
                  </a:lnTo>
                  <a:lnTo>
                    <a:pt x="32" y="338"/>
                  </a:lnTo>
                  <a:lnTo>
                    <a:pt x="0" y="303"/>
                  </a:lnTo>
                  <a:lnTo>
                    <a:pt x="327" y="0"/>
                  </a:lnTo>
                  <a:lnTo>
                    <a:pt x="351" y="26"/>
                  </a:lnTo>
                  <a:lnTo>
                    <a:pt x="376" y="52"/>
                  </a:lnTo>
                  <a:lnTo>
                    <a:pt x="401" y="77"/>
                  </a:lnTo>
                  <a:lnTo>
                    <a:pt x="427" y="103"/>
                  </a:lnTo>
                  <a:lnTo>
                    <a:pt x="454" y="127"/>
                  </a:lnTo>
                  <a:lnTo>
                    <a:pt x="481" y="150"/>
                  </a:lnTo>
                  <a:lnTo>
                    <a:pt x="508" y="172"/>
                  </a:lnTo>
                  <a:lnTo>
                    <a:pt x="536" y="195"/>
                  </a:lnTo>
                  <a:lnTo>
                    <a:pt x="566" y="216"/>
                  </a:lnTo>
                  <a:lnTo>
                    <a:pt x="594" y="236"/>
                  </a:lnTo>
                  <a:lnTo>
                    <a:pt x="624" y="257"/>
                  </a:lnTo>
                  <a:lnTo>
                    <a:pt x="654" y="275"/>
                  </a:lnTo>
                  <a:lnTo>
                    <a:pt x="684" y="292"/>
                  </a:lnTo>
                  <a:lnTo>
                    <a:pt x="714" y="310"/>
                  </a:lnTo>
                  <a:lnTo>
                    <a:pt x="745" y="326"/>
                  </a:lnTo>
                  <a:lnTo>
                    <a:pt x="778" y="342"/>
                  </a:lnTo>
                  <a:lnTo>
                    <a:pt x="809" y="357"/>
                  </a:lnTo>
                  <a:lnTo>
                    <a:pt x="841" y="371"/>
                  </a:lnTo>
                  <a:lnTo>
                    <a:pt x="874" y="383"/>
                  </a:lnTo>
                  <a:lnTo>
                    <a:pt x="907" y="396"/>
                  </a:lnTo>
                  <a:lnTo>
                    <a:pt x="940" y="408"/>
                  </a:lnTo>
                  <a:lnTo>
                    <a:pt x="974" y="417"/>
                  </a:lnTo>
                  <a:lnTo>
                    <a:pt x="1008" y="427"/>
                  </a:lnTo>
                  <a:lnTo>
                    <a:pt x="1042" y="435"/>
                  </a:lnTo>
                  <a:lnTo>
                    <a:pt x="1076" y="442"/>
                  </a:lnTo>
                  <a:lnTo>
                    <a:pt x="1111" y="450"/>
                  </a:lnTo>
                  <a:lnTo>
                    <a:pt x="1147" y="455"/>
                  </a:lnTo>
                  <a:lnTo>
                    <a:pt x="1182" y="460"/>
                  </a:lnTo>
                  <a:lnTo>
                    <a:pt x="1217" y="464"/>
                  </a:lnTo>
                  <a:lnTo>
                    <a:pt x="1253" y="466"/>
                  </a:lnTo>
                  <a:lnTo>
                    <a:pt x="1290" y="468"/>
                  </a:lnTo>
                  <a:lnTo>
                    <a:pt x="1326" y="468"/>
                  </a:lnTo>
                  <a:lnTo>
                    <a:pt x="1326" y="918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46" name="Freeform 213"/>
            <p:cNvSpPr>
              <a:spLocks/>
            </p:cNvSpPr>
            <p:nvPr/>
          </p:nvSpPr>
          <p:spPr bwMode="auto">
            <a:xfrm>
              <a:off x="1621" y="1932"/>
              <a:ext cx="20" cy="34"/>
            </a:xfrm>
            <a:custGeom>
              <a:avLst/>
              <a:gdLst>
                <a:gd name="T0" fmla="*/ 0 w 866"/>
                <a:gd name="T1" fmla="*/ 0 h 1456"/>
                <a:gd name="T2" fmla="*/ 0 w 866"/>
                <a:gd name="T3" fmla="*/ 0 h 1456"/>
                <a:gd name="T4" fmla="*/ 0 w 866"/>
                <a:gd name="T5" fmla="*/ 0 h 1456"/>
                <a:gd name="T6" fmla="*/ 0 w 866"/>
                <a:gd name="T7" fmla="*/ 0 h 1456"/>
                <a:gd name="T8" fmla="*/ 0 w 866"/>
                <a:gd name="T9" fmla="*/ 0 h 1456"/>
                <a:gd name="T10" fmla="*/ 0 w 866"/>
                <a:gd name="T11" fmla="*/ 0 h 1456"/>
                <a:gd name="T12" fmla="*/ 0 w 866"/>
                <a:gd name="T13" fmla="*/ 0 h 1456"/>
                <a:gd name="T14" fmla="*/ 0 w 866"/>
                <a:gd name="T15" fmla="*/ 0 h 1456"/>
                <a:gd name="T16" fmla="*/ 0 w 866"/>
                <a:gd name="T17" fmla="*/ 0 h 1456"/>
                <a:gd name="T18" fmla="*/ 0 w 866"/>
                <a:gd name="T19" fmla="*/ 0 h 1456"/>
                <a:gd name="T20" fmla="*/ 0 w 866"/>
                <a:gd name="T21" fmla="*/ 0 h 1456"/>
                <a:gd name="T22" fmla="*/ 0 w 866"/>
                <a:gd name="T23" fmla="*/ 0 h 1456"/>
                <a:gd name="T24" fmla="*/ 0 w 866"/>
                <a:gd name="T25" fmla="*/ 0 h 1456"/>
                <a:gd name="T26" fmla="*/ 0 w 866"/>
                <a:gd name="T27" fmla="*/ 0 h 1456"/>
                <a:gd name="T28" fmla="*/ 0 w 866"/>
                <a:gd name="T29" fmla="*/ 0 h 1456"/>
                <a:gd name="T30" fmla="*/ 0 w 866"/>
                <a:gd name="T31" fmla="*/ 0 h 1456"/>
                <a:gd name="T32" fmla="*/ 0 w 866"/>
                <a:gd name="T33" fmla="*/ 0 h 1456"/>
                <a:gd name="T34" fmla="*/ 0 w 866"/>
                <a:gd name="T35" fmla="*/ 0 h 1456"/>
                <a:gd name="T36" fmla="*/ 0 w 866"/>
                <a:gd name="T37" fmla="*/ 0 h 1456"/>
                <a:gd name="T38" fmla="*/ 0 w 866"/>
                <a:gd name="T39" fmla="*/ 0 h 1456"/>
                <a:gd name="T40" fmla="*/ 0 w 866"/>
                <a:gd name="T41" fmla="*/ 0 h 1456"/>
                <a:gd name="T42" fmla="*/ 0 w 866"/>
                <a:gd name="T43" fmla="*/ 0 h 1456"/>
                <a:gd name="T44" fmla="*/ 0 w 866"/>
                <a:gd name="T45" fmla="*/ 0 h 1456"/>
                <a:gd name="T46" fmla="*/ 0 w 866"/>
                <a:gd name="T47" fmla="*/ 0 h 1456"/>
                <a:gd name="T48" fmla="*/ 0 w 866"/>
                <a:gd name="T49" fmla="*/ 0 h 1456"/>
                <a:gd name="T50" fmla="*/ 0 w 866"/>
                <a:gd name="T51" fmla="*/ 0 h 1456"/>
                <a:gd name="T52" fmla="*/ 0 w 866"/>
                <a:gd name="T53" fmla="*/ 0 h 1456"/>
                <a:gd name="T54" fmla="*/ 0 w 866"/>
                <a:gd name="T55" fmla="*/ 0 h 1456"/>
                <a:gd name="T56" fmla="*/ 0 w 866"/>
                <a:gd name="T57" fmla="*/ 0 h 1456"/>
                <a:gd name="T58" fmla="*/ 0 w 866"/>
                <a:gd name="T59" fmla="*/ 0 h 1456"/>
                <a:gd name="T60" fmla="*/ 0 w 866"/>
                <a:gd name="T61" fmla="*/ 0 h 1456"/>
                <a:gd name="T62" fmla="*/ 0 w 866"/>
                <a:gd name="T63" fmla="*/ 0 h 1456"/>
                <a:gd name="T64" fmla="*/ 0 w 866"/>
                <a:gd name="T65" fmla="*/ 0 h 14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6"/>
                <a:gd name="T100" fmla="*/ 0 h 1456"/>
                <a:gd name="T101" fmla="*/ 866 w 866"/>
                <a:gd name="T102" fmla="*/ 1456 h 14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6" h="1456">
                  <a:moveTo>
                    <a:pt x="539" y="1456"/>
                  </a:moveTo>
                  <a:lnTo>
                    <a:pt x="508" y="1420"/>
                  </a:lnTo>
                  <a:lnTo>
                    <a:pt x="478" y="1384"/>
                  </a:lnTo>
                  <a:lnTo>
                    <a:pt x="449" y="1348"/>
                  </a:lnTo>
                  <a:lnTo>
                    <a:pt x="420" y="1310"/>
                  </a:lnTo>
                  <a:lnTo>
                    <a:pt x="393" y="1271"/>
                  </a:lnTo>
                  <a:lnTo>
                    <a:pt x="365" y="1232"/>
                  </a:lnTo>
                  <a:lnTo>
                    <a:pt x="339" y="1191"/>
                  </a:lnTo>
                  <a:lnTo>
                    <a:pt x="314" y="1151"/>
                  </a:lnTo>
                  <a:lnTo>
                    <a:pt x="290" y="1110"/>
                  </a:lnTo>
                  <a:lnTo>
                    <a:pt x="266" y="1067"/>
                  </a:lnTo>
                  <a:lnTo>
                    <a:pt x="244" y="1024"/>
                  </a:lnTo>
                  <a:lnTo>
                    <a:pt x="222" y="981"/>
                  </a:lnTo>
                  <a:lnTo>
                    <a:pt x="201" y="936"/>
                  </a:lnTo>
                  <a:lnTo>
                    <a:pt x="182" y="892"/>
                  </a:lnTo>
                  <a:lnTo>
                    <a:pt x="162" y="847"/>
                  </a:lnTo>
                  <a:lnTo>
                    <a:pt x="145" y="801"/>
                  </a:lnTo>
                  <a:lnTo>
                    <a:pt x="128" y="754"/>
                  </a:lnTo>
                  <a:lnTo>
                    <a:pt x="112" y="708"/>
                  </a:lnTo>
                  <a:lnTo>
                    <a:pt x="97" y="660"/>
                  </a:lnTo>
                  <a:lnTo>
                    <a:pt x="83" y="612"/>
                  </a:lnTo>
                  <a:lnTo>
                    <a:pt x="70" y="564"/>
                  </a:lnTo>
                  <a:lnTo>
                    <a:pt x="58" y="514"/>
                  </a:lnTo>
                  <a:lnTo>
                    <a:pt x="47" y="465"/>
                  </a:lnTo>
                  <a:lnTo>
                    <a:pt x="38" y="415"/>
                  </a:lnTo>
                  <a:lnTo>
                    <a:pt x="29" y="364"/>
                  </a:lnTo>
                  <a:lnTo>
                    <a:pt x="21" y="313"/>
                  </a:lnTo>
                  <a:lnTo>
                    <a:pt x="14" y="262"/>
                  </a:lnTo>
                  <a:lnTo>
                    <a:pt x="10" y="210"/>
                  </a:lnTo>
                  <a:lnTo>
                    <a:pt x="6" y="158"/>
                  </a:lnTo>
                  <a:lnTo>
                    <a:pt x="3" y="106"/>
                  </a:lnTo>
                  <a:lnTo>
                    <a:pt x="1" y="53"/>
                  </a:lnTo>
                  <a:lnTo>
                    <a:pt x="0" y="0"/>
                  </a:lnTo>
                  <a:lnTo>
                    <a:pt x="441" y="0"/>
                  </a:lnTo>
                  <a:lnTo>
                    <a:pt x="442" y="43"/>
                  </a:lnTo>
                  <a:lnTo>
                    <a:pt x="443" y="83"/>
                  </a:lnTo>
                  <a:lnTo>
                    <a:pt x="445" y="125"/>
                  </a:lnTo>
                  <a:lnTo>
                    <a:pt x="449" y="167"/>
                  </a:lnTo>
                  <a:lnTo>
                    <a:pt x="453" y="208"/>
                  </a:lnTo>
                  <a:lnTo>
                    <a:pt x="457" y="249"/>
                  </a:lnTo>
                  <a:lnTo>
                    <a:pt x="463" y="289"/>
                  </a:lnTo>
                  <a:lnTo>
                    <a:pt x="471" y="328"/>
                  </a:lnTo>
                  <a:lnTo>
                    <a:pt x="478" y="368"/>
                  </a:lnTo>
                  <a:lnTo>
                    <a:pt x="487" y="408"/>
                  </a:lnTo>
                  <a:lnTo>
                    <a:pt x="496" y="448"/>
                  </a:lnTo>
                  <a:lnTo>
                    <a:pt x="507" y="484"/>
                  </a:lnTo>
                  <a:lnTo>
                    <a:pt x="517" y="523"/>
                  </a:lnTo>
                  <a:lnTo>
                    <a:pt x="529" y="561"/>
                  </a:lnTo>
                  <a:lnTo>
                    <a:pt x="542" y="599"/>
                  </a:lnTo>
                  <a:lnTo>
                    <a:pt x="555" y="634"/>
                  </a:lnTo>
                  <a:lnTo>
                    <a:pt x="570" y="671"/>
                  </a:lnTo>
                  <a:lnTo>
                    <a:pt x="584" y="707"/>
                  </a:lnTo>
                  <a:lnTo>
                    <a:pt x="600" y="742"/>
                  </a:lnTo>
                  <a:lnTo>
                    <a:pt x="616" y="777"/>
                  </a:lnTo>
                  <a:lnTo>
                    <a:pt x="634" y="812"/>
                  </a:lnTo>
                  <a:lnTo>
                    <a:pt x="651" y="846"/>
                  </a:lnTo>
                  <a:lnTo>
                    <a:pt x="669" y="879"/>
                  </a:lnTo>
                  <a:lnTo>
                    <a:pt x="689" y="912"/>
                  </a:lnTo>
                  <a:lnTo>
                    <a:pt x="709" y="943"/>
                  </a:lnTo>
                  <a:lnTo>
                    <a:pt x="729" y="975"/>
                  </a:lnTo>
                  <a:lnTo>
                    <a:pt x="751" y="1007"/>
                  </a:lnTo>
                  <a:lnTo>
                    <a:pt x="772" y="1037"/>
                  </a:lnTo>
                  <a:lnTo>
                    <a:pt x="794" y="1067"/>
                  </a:lnTo>
                  <a:lnTo>
                    <a:pt x="817" y="1097"/>
                  </a:lnTo>
                  <a:lnTo>
                    <a:pt x="842" y="1124"/>
                  </a:lnTo>
                  <a:lnTo>
                    <a:pt x="866" y="1153"/>
                  </a:lnTo>
                  <a:lnTo>
                    <a:pt x="539" y="1456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47" name="Rectangle 214"/>
            <p:cNvSpPr>
              <a:spLocks noChangeArrowheads="1"/>
            </p:cNvSpPr>
            <p:nvPr/>
          </p:nvSpPr>
          <p:spPr bwMode="auto">
            <a:xfrm>
              <a:off x="1621" y="1932"/>
              <a:ext cx="10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48" name="Rectangle 215"/>
            <p:cNvSpPr>
              <a:spLocks noChangeArrowheads="1"/>
            </p:cNvSpPr>
            <p:nvPr/>
          </p:nvSpPr>
          <p:spPr bwMode="auto">
            <a:xfrm>
              <a:off x="1621" y="1932"/>
              <a:ext cx="10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49" name="Freeform 216"/>
            <p:cNvSpPr>
              <a:spLocks/>
            </p:cNvSpPr>
            <p:nvPr/>
          </p:nvSpPr>
          <p:spPr bwMode="auto">
            <a:xfrm>
              <a:off x="1621" y="1898"/>
              <a:ext cx="20" cy="34"/>
            </a:xfrm>
            <a:custGeom>
              <a:avLst/>
              <a:gdLst>
                <a:gd name="T0" fmla="*/ 0 w 867"/>
                <a:gd name="T1" fmla="*/ 0 h 1457"/>
                <a:gd name="T2" fmla="*/ 0 w 867"/>
                <a:gd name="T3" fmla="*/ 0 h 1457"/>
                <a:gd name="T4" fmla="*/ 0 w 867"/>
                <a:gd name="T5" fmla="*/ 0 h 1457"/>
                <a:gd name="T6" fmla="*/ 0 w 867"/>
                <a:gd name="T7" fmla="*/ 0 h 1457"/>
                <a:gd name="T8" fmla="*/ 0 w 867"/>
                <a:gd name="T9" fmla="*/ 0 h 1457"/>
                <a:gd name="T10" fmla="*/ 0 w 867"/>
                <a:gd name="T11" fmla="*/ 0 h 1457"/>
                <a:gd name="T12" fmla="*/ 0 w 867"/>
                <a:gd name="T13" fmla="*/ 0 h 1457"/>
                <a:gd name="T14" fmla="*/ 0 w 867"/>
                <a:gd name="T15" fmla="*/ 0 h 1457"/>
                <a:gd name="T16" fmla="*/ 0 w 867"/>
                <a:gd name="T17" fmla="*/ 0 h 1457"/>
                <a:gd name="T18" fmla="*/ 0 w 867"/>
                <a:gd name="T19" fmla="*/ 0 h 1457"/>
                <a:gd name="T20" fmla="*/ 0 w 867"/>
                <a:gd name="T21" fmla="*/ 0 h 1457"/>
                <a:gd name="T22" fmla="*/ 0 w 867"/>
                <a:gd name="T23" fmla="*/ 0 h 1457"/>
                <a:gd name="T24" fmla="*/ 0 w 867"/>
                <a:gd name="T25" fmla="*/ 0 h 1457"/>
                <a:gd name="T26" fmla="*/ 0 w 867"/>
                <a:gd name="T27" fmla="*/ 0 h 1457"/>
                <a:gd name="T28" fmla="*/ 0 w 867"/>
                <a:gd name="T29" fmla="*/ 0 h 1457"/>
                <a:gd name="T30" fmla="*/ 0 w 867"/>
                <a:gd name="T31" fmla="*/ 0 h 1457"/>
                <a:gd name="T32" fmla="*/ 0 w 867"/>
                <a:gd name="T33" fmla="*/ 0 h 1457"/>
                <a:gd name="T34" fmla="*/ 0 w 867"/>
                <a:gd name="T35" fmla="*/ 0 h 1457"/>
                <a:gd name="T36" fmla="*/ 0 w 867"/>
                <a:gd name="T37" fmla="*/ 0 h 1457"/>
                <a:gd name="T38" fmla="*/ 0 w 867"/>
                <a:gd name="T39" fmla="*/ 0 h 1457"/>
                <a:gd name="T40" fmla="*/ 0 w 867"/>
                <a:gd name="T41" fmla="*/ 0 h 1457"/>
                <a:gd name="T42" fmla="*/ 0 w 867"/>
                <a:gd name="T43" fmla="*/ 0 h 1457"/>
                <a:gd name="T44" fmla="*/ 0 w 867"/>
                <a:gd name="T45" fmla="*/ 0 h 1457"/>
                <a:gd name="T46" fmla="*/ 0 w 867"/>
                <a:gd name="T47" fmla="*/ 0 h 1457"/>
                <a:gd name="T48" fmla="*/ 0 w 867"/>
                <a:gd name="T49" fmla="*/ 0 h 1457"/>
                <a:gd name="T50" fmla="*/ 0 w 867"/>
                <a:gd name="T51" fmla="*/ 0 h 1457"/>
                <a:gd name="T52" fmla="*/ 0 w 867"/>
                <a:gd name="T53" fmla="*/ 0 h 1457"/>
                <a:gd name="T54" fmla="*/ 0 w 867"/>
                <a:gd name="T55" fmla="*/ 0 h 1457"/>
                <a:gd name="T56" fmla="*/ 0 w 867"/>
                <a:gd name="T57" fmla="*/ 0 h 1457"/>
                <a:gd name="T58" fmla="*/ 0 w 867"/>
                <a:gd name="T59" fmla="*/ 0 h 1457"/>
                <a:gd name="T60" fmla="*/ 0 w 867"/>
                <a:gd name="T61" fmla="*/ 0 h 1457"/>
                <a:gd name="T62" fmla="*/ 0 w 867"/>
                <a:gd name="T63" fmla="*/ 0 h 1457"/>
                <a:gd name="T64" fmla="*/ 0 w 867"/>
                <a:gd name="T65" fmla="*/ 0 h 14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7"/>
                <a:gd name="T100" fmla="*/ 0 h 1457"/>
                <a:gd name="T101" fmla="*/ 867 w 867"/>
                <a:gd name="T102" fmla="*/ 1457 h 145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7" h="1457">
                  <a:moveTo>
                    <a:pt x="0" y="1457"/>
                  </a:moveTo>
                  <a:lnTo>
                    <a:pt x="1" y="1405"/>
                  </a:lnTo>
                  <a:lnTo>
                    <a:pt x="3" y="1352"/>
                  </a:lnTo>
                  <a:lnTo>
                    <a:pt x="6" y="1300"/>
                  </a:lnTo>
                  <a:lnTo>
                    <a:pt x="10" y="1246"/>
                  </a:lnTo>
                  <a:lnTo>
                    <a:pt x="14" y="1195"/>
                  </a:lnTo>
                  <a:lnTo>
                    <a:pt x="21" y="1144"/>
                  </a:lnTo>
                  <a:lnTo>
                    <a:pt x="29" y="1092"/>
                  </a:lnTo>
                  <a:lnTo>
                    <a:pt x="38" y="1042"/>
                  </a:lnTo>
                  <a:lnTo>
                    <a:pt x="47" y="992"/>
                  </a:lnTo>
                  <a:lnTo>
                    <a:pt x="58" y="942"/>
                  </a:lnTo>
                  <a:lnTo>
                    <a:pt x="70" y="893"/>
                  </a:lnTo>
                  <a:lnTo>
                    <a:pt x="83" y="846"/>
                  </a:lnTo>
                  <a:lnTo>
                    <a:pt x="97" y="797"/>
                  </a:lnTo>
                  <a:lnTo>
                    <a:pt x="112" y="750"/>
                  </a:lnTo>
                  <a:lnTo>
                    <a:pt x="128" y="702"/>
                  </a:lnTo>
                  <a:lnTo>
                    <a:pt x="145" y="656"/>
                  </a:lnTo>
                  <a:lnTo>
                    <a:pt x="162" y="610"/>
                  </a:lnTo>
                  <a:lnTo>
                    <a:pt x="182" y="565"/>
                  </a:lnTo>
                  <a:lnTo>
                    <a:pt x="201" y="519"/>
                  </a:lnTo>
                  <a:lnTo>
                    <a:pt x="222" y="475"/>
                  </a:lnTo>
                  <a:lnTo>
                    <a:pt x="244" y="431"/>
                  </a:lnTo>
                  <a:lnTo>
                    <a:pt x="267" y="389"/>
                  </a:lnTo>
                  <a:lnTo>
                    <a:pt x="290" y="347"/>
                  </a:lnTo>
                  <a:lnTo>
                    <a:pt x="314" y="306"/>
                  </a:lnTo>
                  <a:lnTo>
                    <a:pt x="339" y="265"/>
                  </a:lnTo>
                  <a:lnTo>
                    <a:pt x="365" y="224"/>
                  </a:lnTo>
                  <a:lnTo>
                    <a:pt x="393" y="184"/>
                  </a:lnTo>
                  <a:lnTo>
                    <a:pt x="421" y="147"/>
                  </a:lnTo>
                  <a:lnTo>
                    <a:pt x="449" y="109"/>
                  </a:lnTo>
                  <a:lnTo>
                    <a:pt x="478" y="71"/>
                  </a:lnTo>
                  <a:lnTo>
                    <a:pt x="509" y="35"/>
                  </a:lnTo>
                  <a:lnTo>
                    <a:pt x="540" y="0"/>
                  </a:lnTo>
                  <a:lnTo>
                    <a:pt x="867" y="304"/>
                  </a:lnTo>
                  <a:lnTo>
                    <a:pt x="842" y="332"/>
                  </a:lnTo>
                  <a:lnTo>
                    <a:pt x="818" y="360"/>
                  </a:lnTo>
                  <a:lnTo>
                    <a:pt x="795" y="389"/>
                  </a:lnTo>
                  <a:lnTo>
                    <a:pt x="773" y="419"/>
                  </a:lnTo>
                  <a:lnTo>
                    <a:pt x="751" y="450"/>
                  </a:lnTo>
                  <a:lnTo>
                    <a:pt x="729" y="481"/>
                  </a:lnTo>
                  <a:lnTo>
                    <a:pt x="709" y="513"/>
                  </a:lnTo>
                  <a:lnTo>
                    <a:pt x="689" y="545"/>
                  </a:lnTo>
                  <a:lnTo>
                    <a:pt x="669" y="577"/>
                  </a:lnTo>
                  <a:lnTo>
                    <a:pt x="651" y="611"/>
                  </a:lnTo>
                  <a:lnTo>
                    <a:pt x="634" y="645"/>
                  </a:lnTo>
                  <a:lnTo>
                    <a:pt x="616" y="679"/>
                  </a:lnTo>
                  <a:lnTo>
                    <a:pt x="600" y="714"/>
                  </a:lnTo>
                  <a:lnTo>
                    <a:pt x="584" y="750"/>
                  </a:lnTo>
                  <a:lnTo>
                    <a:pt x="570" y="785"/>
                  </a:lnTo>
                  <a:lnTo>
                    <a:pt x="555" y="821"/>
                  </a:lnTo>
                  <a:lnTo>
                    <a:pt x="542" y="859"/>
                  </a:lnTo>
                  <a:lnTo>
                    <a:pt x="529" y="895"/>
                  </a:lnTo>
                  <a:lnTo>
                    <a:pt x="517" y="934"/>
                  </a:lnTo>
                  <a:lnTo>
                    <a:pt x="506" y="971"/>
                  </a:lnTo>
                  <a:lnTo>
                    <a:pt x="496" y="1010"/>
                  </a:lnTo>
                  <a:lnTo>
                    <a:pt x="487" y="1050"/>
                  </a:lnTo>
                  <a:lnTo>
                    <a:pt x="478" y="1089"/>
                  </a:lnTo>
                  <a:lnTo>
                    <a:pt x="471" y="1128"/>
                  </a:lnTo>
                  <a:lnTo>
                    <a:pt x="463" y="1169"/>
                  </a:lnTo>
                  <a:lnTo>
                    <a:pt x="457" y="1209"/>
                  </a:lnTo>
                  <a:lnTo>
                    <a:pt x="453" y="1250"/>
                  </a:lnTo>
                  <a:lnTo>
                    <a:pt x="449" y="1290"/>
                  </a:lnTo>
                  <a:lnTo>
                    <a:pt x="445" y="1332"/>
                  </a:lnTo>
                  <a:lnTo>
                    <a:pt x="443" y="1373"/>
                  </a:lnTo>
                  <a:lnTo>
                    <a:pt x="442" y="1416"/>
                  </a:lnTo>
                  <a:lnTo>
                    <a:pt x="441" y="1457"/>
                  </a:lnTo>
                  <a:lnTo>
                    <a:pt x="0" y="1457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50" name="Freeform 217"/>
            <p:cNvSpPr>
              <a:spLocks/>
            </p:cNvSpPr>
            <p:nvPr/>
          </p:nvSpPr>
          <p:spPr bwMode="auto">
            <a:xfrm>
              <a:off x="1634" y="1884"/>
              <a:ext cx="31" cy="21"/>
            </a:xfrm>
            <a:custGeom>
              <a:avLst/>
              <a:gdLst>
                <a:gd name="T0" fmla="*/ 0 w 1325"/>
                <a:gd name="T1" fmla="*/ 0 h 919"/>
                <a:gd name="T2" fmla="*/ 0 w 1325"/>
                <a:gd name="T3" fmla="*/ 0 h 919"/>
                <a:gd name="T4" fmla="*/ 0 w 1325"/>
                <a:gd name="T5" fmla="*/ 0 h 919"/>
                <a:gd name="T6" fmla="*/ 0 w 1325"/>
                <a:gd name="T7" fmla="*/ 0 h 919"/>
                <a:gd name="T8" fmla="*/ 0 w 1325"/>
                <a:gd name="T9" fmla="*/ 0 h 919"/>
                <a:gd name="T10" fmla="*/ 0 w 1325"/>
                <a:gd name="T11" fmla="*/ 0 h 919"/>
                <a:gd name="T12" fmla="*/ 0 w 1325"/>
                <a:gd name="T13" fmla="*/ 0 h 919"/>
                <a:gd name="T14" fmla="*/ 0 w 1325"/>
                <a:gd name="T15" fmla="*/ 0 h 919"/>
                <a:gd name="T16" fmla="*/ 0 w 1325"/>
                <a:gd name="T17" fmla="*/ 0 h 919"/>
                <a:gd name="T18" fmla="*/ 0 w 1325"/>
                <a:gd name="T19" fmla="*/ 0 h 919"/>
                <a:gd name="T20" fmla="*/ 0 w 1325"/>
                <a:gd name="T21" fmla="*/ 0 h 919"/>
                <a:gd name="T22" fmla="*/ 0 w 1325"/>
                <a:gd name="T23" fmla="*/ 0 h 919"/>
                <a:gd name="T24" fmla="*/ 0 w 1325"/>
                <a:gd name="T25" fmla="*/ 0 h 919"/>
                <a:gd name="T26" fmla="*/ 0 w 1325"/>
                <a:gd name="T27" fmla="*/ 0 h 919"/>
                <a:gd name="T28" fmla="*/ 0 w 1325"/>
                <a:gd name="T29" fmla="*/ 0 h 919"/>
                <a:gd name="T30" fmla="*/ 0 w 1325"/>
                <a:gd name="T31" fmla="*/ 0 h 919"/>
                <a:gd name="T32" fmla="*/ 0 w 1325"/>
                <a:gd name="T33" fmla="*/ 0 h 919"/>
                <a:gd name="T34" fmla="*/ 0 w 1325"/>
                <a:gd name="T35" fmla="*/ 0 h 919"/>
                <a:gd name="T36" fmla="*/ 0 w 1325"/>
                <a:gd name="T37" fmla="*/ 0 h 919"/>
                <a:gd name="T38" fmla="*/ 0 w 1325"/>
                <a:gd name="T39" fmla="*/ 0 h 919"/>
                <a:gd name="T40" fmla="*/ 0 w 1325"/>
                <a:gd name="T41" fmla="*/ 0 h 919"/>
                <a:gd name="T42" fmla="*/ 0 w 1325"/>
                <a:gd name="T43" fmla="*/ 0 h 919"/>
                <a:gd name="T44" fmla="*/ 0 w 1325"/>
                <a:gd name="T45" fmla="*/ 0 h 919"/>
                <a:gd name="T46" fmla="*/ 0 w 1325"/>
                <a:gd name="T47" fmla="*/ 0 h 919"/>
                <a:gd name="T48" fmla="*/ 0 w 1325"/>
                <a:gd name="T49" fmla="*/ 0 h 919"/>
                <a:gd name="T50" fmla="*/ 0 w 1325"/>
                <a:gd name="T51" fmla="*/ 0 h 919"/>
                <a:gd name="T52" fmla="*/ 0 w 1325"/>
                <a:gd name="T53" fmla="*/ 0 h 919"/>
                <a:gd name="T54" fmla="*/ 0 w 1325"/>
                <a:gd name="T55" fmla="*/ 0 h 919"/>
                <a:gd name="T56" fmla="*/ 0 w 1325"/>
                <a:gd name="T57" fmla="*/ 0 h 919"/>
                <a:gd name="T58" fmla="*/ 0 w 1325"/>
                <a:gd name="T59" fmla="*/ 0 h 919"/>
                <a:gd name="T60" fmla="*/ 0 w 1325"/>
                <a:gd name="T61" fmla="*/ 0 h 919"/>
                <a:gd name="T62" fmla="*/ 0 w 1325"/>
                <a:gd name="T63" fmla="*/ 0 h 919"/>
                <a:gd name="T64" fmla="*/ 0 w 1325"/>
                <a:gd name="T65" fmla="*/ 0 h 9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25"/>
                <a:gd name="T100" fmla="*/ 0 h 919"/>
                <a:gd name="T101" fmla="*/ 1325 w 1325"/>
                <a:gd name="T102" fmla="*/ 919 h 9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25" h="919">
                  <a:moveTo>
                    <a:pt x="0" y="615"/>
                  </a:moveTo>
                  <a:lnTo>
                    <a:pt x="32" y="580"/>
                  </a:lnTo>
                  <a:lnTo>
                    <a:pt x="64" y="545"/>
                  </a:lnTo>
                  <a:lnTo>
                    <a:pt x="97" y="513"/>
                  </a:lnTo>
                  <a:lnTo>
                    <a:pt x="131" y="480"/>
                  </a:lnTo>
                  <a:lnTo>
                    <a:pt x="166" y="448"/>
                  </a:lnTo>
                  <a:lnTo>
                    <a:pt x="202" y="418"/>
                  </a:lnTo>
                  <a:lnTo>
                    <a:pt x="239" y="388"/>
                  </a:lnTo>
                  <a:lnTo>
                    <a:pt x="275" y="359"/>
                  </a:lnTo>
                  <a:lnTo>
                    <a:pt x="313" y="331"/>
                  </a:lnTo>
                  <a:lnTo>
                    <a:pt x="352" y="305"/>
                  </a:lnTo>
                  <a:lnTo>
                    <a:pt x="390" y="279"/>
                  </a:lnTo>
                  <a:lnTo>
                    <a:pt x="430" y="255"/>
                  </a:lnTo>
                  <a:lnTo>
                    <a:pt x="470" y="230"/>
                  </a:lnTo>
                  <a:lnTo>
                    <a:pt x="510" y="208"/>
                  </a:lnTo>
                  <a:lnTo>
                    <a:pt x="552" y="186"/>
                  </a:lnTo>
                  <a:lnTo>
                    <a:pt x="593" y="166"/>
                  </a:lnTo>
                  <a:lnTo>
                    <a:pt x="636" y="146"/>
                  </a:lnTo>
                  <a:lnTo>
                    <a:pt x="679" y="128"/>
                  </a:lnTo>
                  <a:lnTo>
                    <a:pt x="722" y="111"/>
                  </a:lnTo>
                  <a:lnTo>
                    <a:pt x="766" y="95"/>
                  </a:lnTo>
                  <a:lnTo>
                    <a:pt x="810" y="80"/>
                  </a:lnTo>
                  <a:lnTo>
                    <a:pt x="855" y="67"/>
                  </a:lnTo>
                  <a:lnTo>
                    <a:pt x="900" y="55"/>
                  </a:lnTo>
                  <a:lnTo>
                    <a:pt x="946" y="44"/>
                  </a:lnTo>
                  <a:lnTo>
                    <a:pt x="992" y="34"/>
                  </a:lnTo>
                  <a:lnTo>
                    <a:pt x="1039" y="25"/>
                  </a:lnTo>
                  <a:lnTo>
                    <a:pt x="1085" y="18"/>
                  </a:lnTo>
                  <a:lnTo>
                    <a:pt x="1132" y="12"/>
                  </a:lnTo>
                  <a:lnTo>
                    <a:pt x="1180" y="8"/>
                  </a:lnTo>
                  <a:lnTo>
                    <a:pt x="1228" y="4"/>
                  </a:lnTo>
                  <a:lnTo>
                    <a:pt x="1275" y="1"/>
                  </a:lnTo>
                  <a:lnTo>
                    <a:pt x="1325" y="0"/>
                  </a:lnTo>
                  <a:lnTo>
                    <a:pt x="1325" y="450"/>
                  </a:lnTo>
                  <a:lnTo>
                    <a:pt x="1288" y="451"/>
                  </a:lnTo>
                  <a:lnTo>
                    <a:pt x="1252" y="452"/>
                  </a:lnTo>
                  <a:lnTo>
                    <a:pt x="1216" y="456"/>
                  </a:lnTo>
                  <a:lnTo>
                    <a:pt x="1181" y="460"/>
                  </a:lnTo>
                  <a:lnTo>
                    <a:pt x="1145" y="464"/>
                  </a:lnTo>
                  <a:lnTo>
                    <a:pt x="1110" y="470"/>
                  </a:lnTo>
                  <a:lnTo>
                    <a:pt x="1075" y="476"/>
                  </a:lnTo>
                  <a:lnTo>
                    <a:pt x="1041" y="483"/>
                  </a:lnTo>
                  <a:lnTo>
                    <a:pt x="1007" y="492"/>
                  </a:lnTo>
                  <a:lnTo>
                    <a:pt x="973" y="500"/>
                  </a:lnTo>
                  <a:lnTo>
                    <a:pt x="939" y="512"/>
                  </a:lnTo>
                  <a:lnTo>
                    <a:pt x="906" y="523"/>
                  </a:lnTo>
                  <a:lnTo>
                    <a:pt x="873" y="535"/>
                  </a:lnTo>
                  <a:lnTo>
                    <a:pt x="840" y="548"/>
                  </a:lnTo>
                  <a:lnTo>
                    <a:pt x="808" y="562"/>
                  </a:lnTo>
                  <a:lnTo>
                    <a:pt x="777" y="577"/>
                  </a:lnTo>
                  <a:lnTo>
                    <a:pt x="744" y="591"/>
                  </a:lnTo>
                  <a:lnTo>
                    <a:pt x="713" y="609"/>
                  </a:lnTo>
                  <a:lnTo>
                    <a:pt x="683" y="626"/>
                  </a:lnTo>
                  <a:lnTo>
                    <a:pt x="653" y="644"/>
                  </a:lnTo>
                  <a:lnTo>
                    <a:pt x="623" y="663"/>
                  </a:lnTo>
                  <a:lnTo>
                    <a:pt x="593" y="682"/>
                  </a:lnTo>
                  <a:lnTo>
                    <a:pt x="565" y="702"/>
                  </a:lnTo>
                  <a:lnTo>
                    <a:pt x="535" y="724"/>
                  </a:lnTo>
                  <a:lnTo>
                    <a:pt x="507" y="745"/>
                  </a:lnTo>
                  <a:lnTo>
                    <a:pt x="480" y="769"/>
                  </a:lnTo>
                  <a:lnTo>
                    <a:pt x="453" y="792"/>
                  </a:lnTo>
                  <a:lnTo>
                    <a:pt x="427" y="816"/>
                  </a:lnTo>
                  <a:lnTo>
                    <a:pt x="401" y="840"/>
                  </a:lnTo>
                  <a:lnTo>
                    <a:pt x="375" y="866"/>
                  </a:lnTo>
                  <a:lnTo>
                    <a:pt x="351" y="892"/>
                  </a:lnTo>
                  <a:lnTo>
                    <a:pt x="327" y="919"/>
                  </a:lnTo>
                  <a:lnTo>
                    <a:pt x="0" y="615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51" name="Rectangle 218"/>
            <p:cNvSpPr>
              <a:spLocks noChangeArrowheads="1"/>
            </p:cNvSpPr>
            <p:nvPr/>
          </p:nvSpPr>
          <p:spPr bwMode="auto">
            <a:xfrm>
              <a:off x="1665" y="1884"/>
              <a:ext cx="1" cy="10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52" name="Rectangle 219"/>
            <p:cNvSpPr>
              <a:spLocks noChangeArrowheads="1"/>
            </p:cNvSpPr>
            <p:nvPr/>
          </p:nvSpPr>
          <p:spPr bwMode="auto">
            <a:xfrm>
              <a:off x="1681" y="1813"/>
              <a:ext cx="1" cy="10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53" name="Freeform 220"/>
            <p:cNvSpPr>
              <a:spLocks/>
            </p:cNvSpPr>
            <p:nvPr/>
          </p:nvSpPr>
          <p:spPr bwMode="auto">
            <a:xfrm>
              <a:off x="1681" y="1813"/>
              <a:ext cx="73" cy="39"/>
            </a:xfrm>
            <a:custGeom>
              <a:avLst/>
              <a:gdLst>
                <a:gd name="T0" fmla="*/ 0 w 3076"/>
                <a:gd name="T1" fmla="*/ 0 h 1705"/>
                <a:gd name="T2" fmla="*/ 0 w 3076"/>
                <a:gd name="T3" fmla="*/ 0 h 1705"/>
                <a:gd name="T4" fmla="*/ 0 w 3076"/>
                <a:gd name="T5" fmla="*/ 0 h 1705"/>
                <a:gd name="T6" fmla="*/ 0 w 3076"/>
                <a:gd name="T7" fmla="*/ 0 h 1705"/>
                <a:gd name="T8" fmla="*/ 0 w 3076"/>
                <a:gd name="T9" fmla="*/ 0 h 1705"/>
                <a:gd name="T10" fmla="*/ 0 w 3076"/>
                <a:gd name="T11" fmla="*/ 0 h 1705"/>
                <a:gd name="T12" fmla="*/ 0 w 3076"/>
                <a:gd name="T13" fmla="*/ 0 h 1705"/>
                <a:gd name="T14" fmla="*/ 0 w 3076"/>
                <a:gd name="T15" fmla="*/ 0 h 1705"/>
                <a:gd name="T16" fmla="*/ 0 w 3076"/>
                <a:gd name="T17" fmla="*/ 0 h 1705"/>
                <a:gd name="T18" fmla="*/ 0 w 3076"/>
                <a:gd name="T19" fmla="*/ 0 h 1705"/>
                <a:gd name="T20" fmla="*/ 0 w 3076"/>
                <a:gd name="T21" fmla="*/ 0 h 1705"/>
                <a:gd name="T22" fmla="*/ 0 w 3076"/>
                <a:gd name="T23" fmla="*/ 0 h 1705"/>
                <a:gd name="T24" fmla="*/ 0 w 3076"/>
                <a:gd name="T25" fmla="*/ 0 h 1705"/>
                <a:gd name="T26" fmla="*/ 0 w 3076"/>
                <a:gd name="T27" fmla="*/ 0 h 1705"/>
                <a:gd name="T28" fmla="*/ 0 w 3076"/>
                <a:gd name="T29" fmla="*/ 0 h 1705"/>
                <a:gd name="T30" fmla="*/ 0 w 3076"/>
                <a:gd name="T31" fmla="*/ 0 h 1705"/>
                <a:gd name="T32" fmla="*/ 0 w 3076"/>
                <a:gd name="T33" fmla="*/ 0 h 1705"/>
                <a:gd name="T34" fmla="*/ 0 w 3076"/>
                <a:gd name="T35" fmla="*/ 0 h 1705"/>
                <a:gd name="T36" fmla="*/ 0 w 3076"/>
                <a:gd name="T37" fmla="*/ 0 h 1705"/>
                <a:gd name="T38" fmla="*/ 0 w 3076"/>
                <a:gd name="T39" fmla="*/ 0 h 1705"/>
                <a:gd name="T40" fmla="*/ 0 w 3076"/>
                <a:gd name="T41" fmla="*/ 0 h 1705"/>
                <a:gd name="T42" fmla="*/ 0 w 3076"/>
                <a:gd name="T43" fmla="*/ 0 h 1705"/>
                <a:gd name="T44" fmla="*/ 0 w 3076"/>
                <a:gd name="T45" fmla="*/ 0 h 1705"/>
                <a:gd name="T46" fmla="*/ 0 w 3076"/>
                <a:gd name="T47" fmla="*/ 0 h 1705"/>
                <a:gd name="T48" fmla="*/ 0 w 3076"/>
                <a:gd name="T49" fmla="*/ 0 h 1705"/>
                <a:gd name="T50" fmla="*/ 0 w 3076"/>
                <a:gd name="T51" fmla="*/ 0 h 1705"/>
                <a:gd name="T52" fmla="*/ 0 w 3076"/>
                <a:gd name="T53" fmla="*/ 0 h 1705"/>
                <a:gd name="T54" fmla="*/ 0 w 3076"/>
                <a:gd name="T55" fmla="*/ 0 h 1705"/>
                <a:gd name="T56" fmla="*/ 0 w 3076"/>
                <a:gd name="T57" fmla="*/ 0 h 1705"/>
                <a:gd name="T58" fmla="*/ 0 w 3076"/>
                <a:gd name="T59" fmla="*/ 0 h 1705"/>
                <a:gd name="T60" fmla="*/ 0 w 3076"/>
                <a:gd name="T61" fmla="*/ 0 h 1705"/>
                <a:gd name="T62" fmla="*/ 0 w 3076"/>
                <a:gd name="T63" fmla="*/ 0 h 1705"/>
                <a:gd name="T64" fmla="*/ 0 w 3076"/>
                <a:gd name="T65" fmla="*/ 0 h 170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76"/>
                <a:gd name="T100" fmla="*/ 0 h 1705"/>
                <a:gd name="T101" fmla="*/ 3076 w 3076"/>
                <a:gd name="T102" fmla="*/ 1705 h 170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76" h="1705">
                  <a:moveTo>
                    <a:pt x="0" y="0"/>
                  </a:moveTo>
                  <a:lnTo>
                    <a:pt x="112" y="2"/>
                  </a:lnTo>
                  <a:lnTo>
                    <a:pt x="224" y="7"/>
                  </a:lnTo>
                  <a:lnTo>
                    <a:pt x="335" y="15"/>
                  </a:lnTo>
                  <a:lnTo>
                    <a:pt x="445" y="25"/>
                  </a:lnTo>
                  <a:lnTo>
                    <a:pt x="554" y="39"/>
                  </a:lnTo>
                  <a:lnTo>
                    <a:pt x="663" y="55"/>
                  </a:lnTo>
                  <a:lnTo>
                    <a:pt x="770" y="75"/>
                  </a:lnTo>
                  <a:lnTo>
                    <a:pt x="877" y="98"/>
                  </a:lnTo>
                  <a:lnTo>
                    <a:pt x="983" y="123"/>
                  </a:lnTo>
                  <a:lnTo>
                    <a:pt x="1087" y="151"/>
                  </a:lnTo>
                  <a:lnTo>
                    <a:pt x="1192" y="181"/>
                  </a:lnTo>
                  <a:lnTo>
                    <a:pt x="1294" y="215"/>
                  </a:lnTo>
                  <a:lnTo>
                    <a:pt x="1396" y="252"/>
                  </a:lnTo>
                  <a:lnTo>
                    <a:pt x="1496" y="290"/>
                  </a:lnTo>
                  <a:lnTo>
                    <a:pt x="1596" y="331"/>
                  </a:lnTo>
                  <a:lnTo>
                    <a:pt x="1695" y="375"/>
                  </a:lnTo>
                  <a:lnTo>
                    <a:pt x="1791" y="422"/>
                  </a:lnTo>
                  <a:lnTo>
                    <a:pt x="1887" y="471"/>
                  </a:lnTo>
                  <a:lnTo>
                    <a:pt x="1982" y="523"/>
                  </a:lnTo>
                  <a:lnTo>
                    <a:pt x="2075" y="576"/>
                  </a:lnTo>
                  <a:lnTo>
                    <a:pt x="2167" y="632"/>
                  </a:lnTo>
                  <a:lnTo>
                    <a:pt x="2257" y="690"/>
                  </a:lnTo>
                  <a:lnTo>
                    <a:pt x="2346" y="752"/>
                  </a:lnTo>
                  <a:lnTo>
                    <a:pt x="2434" y="815"/>
                  </a:lnTo>
                  <a:lnTo>
                    <a:pt x="2519" y="880"/>
                  </a:lnTo>
                  <a:lnTo>
                    <a:pt x="2604" y="949"/>
                  </a:lnTo>
                  <a:lnTo>
                    <a:pt x="2686" y="1019"/>
                  </a:lnTo>
                  <a:lnTo>
                    <a:pt x="2768" y="1089"/>
                  </a:lnTo>
                  <a:lnTo>
                    <a:pt x="2848" y="1164"/>
                  </a:lnTo>
                  <a:lnTo>
                    <a:pt x="2925" y="1239"/>
                  </a:lnTo>
                  <a:lnTo>
                    <a:pt x="3002" y="1318"/>
                  </a:lnTo>
                  <a:lnTo>
                    <a:pt x="3076" y="1397"/>
                  </a:lnTo>
                  <a:lnTo>
                    <a:pt x="2753" y="1705"/>
                  </a:lnTo>
                  <a:lnTo>
                    <a:pt x="2686" y="1632"/>
                  </a:lnTo>
                  <a:lnTo>
                    <a:pt x="2617" y="1563"/>
                  </a:lnTo>
                  <a:lnTo>
                    <a:pt x="2548" y="1494"/>
                  </a:lnTo>
                  <a:lnTo>
                    <a:pt x="2476" y="1428"/>
                  </a:lnTo>
                  <a:lnTo>
                    <a:pt x="2403" y="1364"/>
                  </a:lnTo>
                  <a:lnTo>
                    <a:pt x="2329" y="1301"/>
                  </a:lnTo>
                  <a:lnTo>
                    <a:pt x="2253" y="1240"/>
                  </a:lnTo>
                  <a:lnTo>
                    <a:pt x="2176" y="1182"/>
                  </a:lnTo>
                  <a:lnTo>
                    <a:pt x="2098" y="1125"/>
                  </a:lnTo>
                  <a:lnTo>
                    <a:pt x="2018" y="1071"/>
                  </a:lnTo>
                  <a:lnTo>
                    <a:pt x="1938" y="1019"/>
                  </a:lnTo>
                  <a:lnTo>
                    <a:pt x="1855" y="967"/>
                  </a:lnTo>
                  <a:lnTo>
                    <a:pt x="1772" y="919"/>
                  </a:lnTo>
                  <a:lnTo>
                    <a:pt x="1687" y="873"/>
                  </a:lnTo>
                  <a:lnTo>
                    <a:pt x="1602" y="829"/>
                  </a:lnTo>
                  <a:lnTo>
                    <a:pt x="1514" y="787"/>
                  </a:lnTo>
                  <a:lnTo>
                    <a:pt x="1426" y="749"/>
                  </a:lnTo>
                  <a:lnTo>
                    <a:pt x="1337" y="711"/>
                  </a:lnTo>
                  <a:lnTo>
                    <a:pt x="1247" y="676"/>
                  </a:lnTo>
                  <a:lnTo>
                    <a:pt x="1156" y="643"/>
                  </a:lnTo>
                  <a:lnTo>
                    <a:pt x="1064" y="614"/>
                  </a:lnTo>
                  <a:lnTo>
                    <a:pt x="972" y="585"/>
                  </a:lnTo>
                  <a:lnTo>
                    <a:pt x="878" y="561"/>
                  </a:lnTo>
                  <a:lnTo>
                    <a:pt x="783" y="537"/>
                  </a:lnTo>
                  <a:lnTo>
                    <a:pt x="688" y="518"/>
                  </a:lnTo>
                  <a:lnTo>
                    <a:pt x="592" y="501"/>
                  </a:lnTo>
                  <a:lnTo>
                    <a:pt x="495" y="485"/>
                  </a:lnTo>
                  <a:lnTo>
                    <a:pt x="398" y="473"/>
                  </a:lnTo>
                  <a:lnTo>
                    <a:pt x="299" y="463"/>
                  </a:lnTo>
                  <a:lnTo>
                    <a:pt x="200" y="456"/>
                  </a:lnTo>
                  <a:lnTo>
                    <a:pt x="101" y="452"/>
                  </a:lnTo>
                  <a:lnTo>
                    <a:pt x="0" y="45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54" name="Freeform 221"/>
            <p:cNvSpPr>
              <a:spLocks/>
            </p:cNvSpPr>
            <p:nvPr/>
          </p:nvSpPr>
          <p:spPr bwMode="auto">
            <a:xfrm>
              <a:off x="1746" y="1845"/>
              <a:ext cx="38" cy="78"/>
            </a:xfrm>
            <a:custGeom>
              <a:avLst/>
              <a:gdLst>
                <a:gd name="T0" fmla="*/ 0 w 1589"/>
                <a:gd name="T1" fmla="*/ 0 h 3350"/>
                <a:gd name="T2" fmla="*/ 0 w 1589"/>
                <a:gd name="T3" fmla="*/ 0 h 3350"/>
                <a:gd name="T4" fmla="*/ 0 w 1589"/>
                <a:gd name="T5" fmla="*/ 0 h 3350"/>
                <a:gd name="T6" fmla="*/ 0 w 1589"/>
                <a:gd name="T7" fmla="*/ 0 h 3350"/>
                <a:gd name="T8" fmla="*/ 0 w 1589"/>
                <a:gd name="T9" fmla="*/ 0 h 3350"/>
                <a:gd name="T10" fmla="*/ 0 w 1589"/>
                <a:gd name="T11" fmla="*/ 0 h 3350"/>
                <a:gd name="T12" fmla="*/ 0 w 1589"/>
                <a:gd name="T13" fmla="*/ 0 h 3350"/>
                <a:gd name="T14" fmla="*/ 0 w 1589"/>
                <a:gd name="T15" fmla="*/ 0 h 3350"/>
                <a:gd name="T16" fmla="*/ 0 w 1589"/>
                <a:gd name="T17" fmla="*/ 0 h 3350"/>
                <a:gd name="T18" fmla="*/ 0 w 1589"/>
                <a:gd name="T19" fmla="*/ 0 h 3350"/>
                <a:gd name="T20" fmla="*/ 0 w 1589"/>
                <a:gd name="T21" fmla="*/ 0 h 3350"/>
                <a:gd name="T22" fmla="*/ 0 w 1589"/>
                <a:gd name="T23" fmla="*/ 0 h 3350"/>
                <a:gd name="T24" fmla="*/ 0 w 1589"/>
                <a:gd name="T25" fmla="*/ 0 h 3350"/>
                <a:gd name="T26" fmla="*/ 0 w 1589"/>
                <a:gd name="T27" fmla="*/ 0 h 3350"/>
                <a:gd name="T28" fmla="*/ 0 w 1589"/>
                <a:gd name="T29" fmla="*/ 0 h 3350"/>
                <a:gd name="T30" fmla="*/ 0 w 1589"/>
                <a:gd name="T31" fmla="*/ 0 h 3350"/>
                <a:gd name="T32" fmla="*/ 0 w 1589"/>
                <a:gd name="T33" fmla="*/ 0 h 3350"/>
                <a:gd name="T34" fmla="*/ 0 w 1589"/>
                <a:gd name="T35" fmla="*/ 0 h 3350"/>
                <a:gd name="T36" fmla="*/ 0 w 1589"/>
                <a:gd name="T37" fmla="*/ 0 h 3350"/>
                <a:gd name="T38" fmla="*/ 0 w 1589"/>
                <a:gd name="T39" fmla="*/ 0 h 3350"/>
                <a:gd name="T40" fmla="*/ 0 w 1589"/>
                <a:gd name="T41" fmla="*/ 0 h 3350"/>
                <a:gd name="T42" fmla="*/ 0 w 1589"/>
                <a:gd name="T43" fmla="*/ 0 h 3350"/>
                <a:gd name="T44" fmla="*/ 0 w 1589"/>
                <a:gd name="T45" fmla="*/ 0 h 3350"/>
                <a:gd name="T46" fmla="*/ 0 w 1589"/>
                <a:gd name="T47" fmla="*/ 0 h 3350"/>
                <a:gd name="T48" fmla="*/ 0 w 1589"/>
                <a:gd name="T49" fmla="*/ 0 h 3350"/>
                <a:gd name="T50" fmla="*/ 0 w 1589"/>
                <a:gd name="T51" fmla="*/ 0 h 3350"/>
                <a:gd name="T52" fmla="*/ 0 w 1589"/>
                <a:gd name="T53" fmla="*/ 0 h 3350"/>
                <a:gd name="T54" fmla="*/ 0 w 1589"/>
                <a:gd name="T55" fmla="*/ 0 h 3350"/>
                <a:gd name="T56" fmla="*/ 0 w 1589"/>
                <a:gd name="T57" fmla="*/ 0 h 3350"/>
                <a:gd name="T58" fmla="*/ 0 w 1589"/>
                <a:gd name="T59" fmla="*/ 0 h 3350"/>
                <a:gd name="T60" fmla="*/ 0 w 1589"/>
                <a:gd name="T61" fmla="*/ 0 h 3350"/>
                <a:gd name="T62" fmla="*/ 0 w 1589"/>
                <a:gd name="T63" fmla="*/ 0 h 3350"/>
                <a:gd name="T64" fmla="*/ 0 w 1589"/>
                <a:gd name="T65" fmla="*/ 0 h 33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89"/>
                <a:gd name="T100" fmla="*/ 0 h 3350"/>
                <a:gd name="T101" fmla="*/ 1589 w 1589"/>
                <a:gd name="T102" fmla="*/ 3350 h 33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89" h="3350">
                  <a:moveTo>
                    <a:pt x="323" y="0"/>
                  </a:moveTo>
                  <a:lnTo>
                    <a:pt x="396" y="82"/>
                  </a:lnTo>
                  <a:lnTo>
                    <a:pt x="466" y="166"/>
                  </a:lnTo>
                  <a:lnTo>
                    <a:pt x="535" y="250"/>
                  </a:lnTo>
                  <a:lnTo>
                    <a:pt x="603" y="337"/>
                  </a:lnTo>
                  <a:lnTo>
                    <a:pt x="667" y="426"/>
                  </a:lnTo>
                  <a:lnTo>
                    <a:pt x="730" y="517"/>
                  </a:lnTo>
                  <a:lnTo>
                    <a:pt x="791" y="609"/>
                  </a:lnTo>
                  <a:lnTo>
                    <a:pt x="851" y="702"/>
                  </a:lnTo>
                  <a:lnTo>
                    <a:pt x="908" y="798"/>
                  </a:lnTo>
                  <a:lnTo>
                    <a:pt x="963" y="894"/>
                  </a:lnTo>
                  <a:lnTo>
                    <a:pt x="1017" y="993"/>
                  </a:lnTo>
                  <a:lnTo>
                    <a:pt x="1067" y="1093"/>
                  </a:lnTo>
                  <a:lnTo>
                    <a:pt x="1116" y="1194"/>
                  </a:lnTo>
                  <a:lnTo>
                    <a:pt x="1163" y="1297"/>
                  </a:lnTo>
                  <a:lnTo>
                    <a:pt x="1207" y="1402"/>
                  </a:lnTo>
                  <a:lnTo>
                    <a:pt x="1250" y="1506"/>
                  </a:lnTo>
                  <a:lnTo>
                    <a:pt x="1289" y="1615"/>
                  </a:lnTo>
                  <a:lnTo>
                    <a:pt x="1327" y="1723"/>
                  </a:lnTo>
                  <a:lnTo>
                    <a:pt x="1362" y="1832"/>
                  </a:lnTo>
                  <a:lnTo>
                    <a:pt x="1395" y="1943"/>
                  </a:lnTo>
                  <a:lnTo>
                    <a:pt x="1425" y="2054"/>
                  </a:lnTo>
                  <a:lnTo>
                    <a:pt x="1453" y="2167"/>
                  </a:lnTo>
                  <a:lnTo>
                    <a:pt x="1478" y="2281"/>
                  </a:lnTo>
                  <a:lnTo>
                    <a:pt x="1501" y="2396"/>
                  </a:lnTo>
                  <a:lnTo>
                    <a:pt x="1522" y="2512"/>
                  </a:lnTo>
                  <a:lnTo>
                    <a:pt x="1539" y="2630"/>
                  </a:lnTo>
                  <a:lnTo>
                    <a:pt x="1554" y="2747"/>
                  </a:lnTo>
                  <a:lnTo>
                    <a:pt x="1567" y="2866"/>
                  </a:lnTo>
                  <a:lnTo>
                    <a:pt x="1577" y="2986"/>
                  </a:lnTo>
                  <a:lnTo>
                    <a:pt x="1584" y="3106"/>
                  </a:lnTo>
                  <a:lnTo>
                    <a:pt x="1588" y="3229"/>
                  </a:lnTo>
                  <a:lnTo>
                    <a:pt x="1589" y="3350"/>
                  </a:lnTo>
                  <a:lnTo>
                    <a:pt x="1148" y="3350"/>
                  </a:lnTo>
                  <a:lnTo>
                    <a:pt x="1147" y="3240"/>
                  </a:lnTo>
                  <a:lnTo>
                    <a:pt x="1143" y="3129"/>
                  </a:lnTo>
                  <a:lnTo>
                    <a:pt x="1137" y="3019"/>
                  </a:lnTo>
                  <a:lnTo>
                    <a:pt x="1128" y="2910"/>
                  </a:lnTo>
                  <a:lnTo>
                    <a:pt x="1116" y="2802"/>
                  </a:lnTo>
                  <a:lnTo>
                    <a:pt x="1103" y="2695"/>
                  </a:lnTo>
                  <a:lnTo>
                    <a:pt x="1086" y="2588"/>
                  </a:lnTo>
                  <a:lnTo>
                    <a:pt x="1068" y="2483"/>
                  </a:lnTo>
                  <a:lnTo>
                    <a:pt x="1048" y="2378"/>
                  </a:lnTo>
                  <a:lnTo>
                    <a:pt x="1024" y="2275"/>
                  </a:lnTo>
                  <a:lnTo>
                    <a:pt x="999" y="2172"/>
                  </a:lnTo>
                  <a:lnTo>
                    <a:pt x="972" y="2070"/>
                  </a:lnTo>
                  <a:lnTo>
                    <a:pt x="942" y="1971"/>
                  </a:lnTo>
                  <a:lnTo>
                    <a:pt x="910" y="1871"/>
                  </a:lnTo>
                  <a:lnTo>
                    <a:pt x="876" y="1772"/>
                  </a:lnTo>
                  <a:lnTo>
                    <a:pt x="840" y="1676"/>
                  </a:lnTo>
                  <a:lnTo>
                    <a:pt x="802" y="1580"/>
                  </a:lnTo>
                  <a:lnTo>
                    <a:pt x="761" y="1485"/>
                  </a:lnTo>
                  <a:lnTo>
                    <a:pt x="719" y="1391"/>
                  </a:lnTo>
                  <a:lnTo>
                    <a:pt x="675" y="1299"/>
                  </a:lnTo>
                  <a:lnTo>
                    <a:pt x="629" y="1208"/>
                  </a:lnTo>
                  <a:lnTo>
                    <a:pt x="580" y="1119"/>
                  </a:lnTo>
                  <a:lnTo>
                    <a:pt x="530" y="1031"/>
                  </a:lnTo>
                  <a:lnTo>
                    <a:pt x="479" y="944"/>
                  </a:lnTo>
                  <a:lnTo>
                    <a:pt x="425" y="860"/>
                  </a:lnTo>
                  <a:lnTo>
                    <a:pt x="370" y="775"/>
                  </a:lnTo>
                  <a:lnTo>
                    <a:pt x="311" y="693"/>
                  </a:lnTo>
                  <a:lnTo>
                    <a:pt x="252" y="614"/>
                  </a:lnTo>
                  <a:lnTo>
                    <a:pt x="192" y="534"/>
                  </a:lnTo>
                  <a:lnTo>
                    <a:pt x="130" y="457"/>
                  </a:lnTo>
                  <a:lnTo>
                    <a:pt x="66" y="381"/>
                  </a:lnTo>
                  <a:lnTo>
                    <a:pt x="0" y="308"/>
                  </a:lnTo>
                  <a:lnTo>
                    <a:pt x="323" y="0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55" name="Rectangle 222"/>
            <p:cNvSpPr>
              <a:spLocks noChangeArrowheads="1"/>
            </p:cNvSpPr>
            <p:nvPr/>
          </p:nvSpPr>
          <p:spPr bwMode="auto">
            <a:xfrm>
              <a:off x="1773" y="1923"/>
              <a:ext cx="11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56" name="Rectangle 223"/>
            <p:cNvSpPr>
              <a:spLocks noChangeArrowheads="1"/>
            </p:cNvSpPr>
            <p:nvPr/>
          </p:nvSpPr>
          <p:spPr bwMode="auto">
            <a:xfrm>
              <a:off x="1773" y="1923"/>
              <a:ext cx="11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57" name="Freeform 224"/>
            <p:cNvSpPr>
              <a:spLocks/>
            </p:cNvSpPr>
            <p:nvPr/>
          </p:nvSpPr>
          <p:spPr bwMode="auto">
            <a:xfrm>
              <a:off x="1746" y="1923"/>
              <a:ext cx="38" cy="78"/>
            </a:xfrm>
            <a:custGeom>
              <a:avLst/>
              <a:gdLst>
                <a:gd name="T0" fmla="*/ 0 w 1589"/>
                <a:gd name="T1" fmla="*/ 0 h 3351"/>
                <a:gd name="T2" fmla="*/ 0 w 1589"/>
                <a:gd name="T3" fmla="*/ 0 h 3351"/>
                <a:gd name="T4" fmla="*/ 0 w 1589"/>
                <a:gd name="T5" fmla="*/ 0 h 3351"/>
                <a:gd name="T6" fmla="*/ 0 w 1589"/>
                <a:gd name="T7" fmla="*/ 0 h 3351"/>
                <a:gd name="T8" fmla="*/ 0 w 1589"/>
                <a:gd name="T9" fmla="*/ 0 h 3351"/>
                <a:gd name="T10" fmla="*/ 0 w 1589"/>
                <a:gd name="T11" fmla="*/ 0 h 3351"/>
                <a:gd name="T12" fmla="*/ 0 w 1589"/>
                <a:gd name="T13" fmla="*/ 0 h 3351"/>
                <a:gd name="T14" fmla="*/ 0 w 1589"/>
                <a:gd name="T15" fmla="*/ 0 h 3351"/>
                <a:gd name="T16" fmla="*/ 0 w 1589"/>
                <a:gd name="T17" fmla="*/ 0 h 3351"/>
                <a:gd name="T18" fmla="*/ 0 w 1589"/>
                <a:gd name="T19" fmla="*/ 0 h 3351"/>
                <a:gd name="T20" fmla="*/ 0 w 1589"/>
                <a:gd name="T21" fmla="*/ 0 h 3351"/>
                <a:gd name="T22" fmla="*/ 0 w 1589"/>
                <a:gd name="T23" fmla="*/ 0 h 3351"/>
                <a:gd name="T24" fmla="*/ 0 w 1589"/>
                <a:gd name="T25" fmla="*/ 0 h 3351"/>
                <a:gd name="T26" fmla="*/ 0 w 1589"/>
                <a:gd name="T27" fmla="*/ 0 h 3351"/>
                <a:gd name="T28" fmla="*/ 0 w 1589"/>
                <a:gd name="T29" fmla="*/ 0 h 3351"/>
                <a:gd name="T30" fmla="*/ 0 w 1589"/>
                <a:gd name="T31" fmla="*/ 0 h 3351"/>
                <a:gd name="T32" fmla="*/ 0 w 1589"/>
                <a:gd name="T33" fmla="*/ 0 h 3351"/>
                <a:gd name="T34" fmla="*/ 0 w 1589"/>
                <a:gd name="T35" fmla="*/ 0 h 3351"/>
                <a:gd name="T36" fmla="*/ 0 w 1589"/>
                <a:gd name="T37" fmla="*/ 0 h 3351"/>
                <a:gd name="T38" fmla="*/ 0 w 1589"/>
                <a:gd name="T39" fmla="*/ 0 h 3351"/>
                <a:gd name="T40" fmla="*/ 0 w 1589"/>
                <a:gd name="T41" fmla="*/ 0 h 3351"/>
                <a:gd name="T42" fmla="*/ 0 w 1589"/>
                <a:gd name="T43" fmla="*/ 0 h 3351"/>
                <a:gd name="T44" fmla="*/ 0 w 1589"/>
                <a:gd name="T45" fmla="*/ 0 h 3351"/>
                <a:gd name="T46" fmla="*/ 0 w 1589"/>
                <a:gd name="T47" fmla="*/ 0 h 3351"/>
                <a:gd name="T48" fmla="*/ 0 w 1589"/>
                <a:gd name="T49" fmla="*/ 0 h 3351"/>
                <a:gd name="T50" fmla="*/ 0 w 1589"/>
                <a:gd name="T51" fmla="*/ 0 h 3351"/>
                <a:gd name="T52" fmla="*/ 0 w 1589"/>
                <a:gd name="T53" fmla="*/ 0 h 3351"/>
                <a:gd name="T54" fmla="*/ 0 w 1589"/>
                <a:gd name="T55" fmla="*/ 0 h 3351"/>
                <a:gd name="T56" fmla="*/ 0 w 1589"/>
                <a:gd name="T57" fmla="*/ 0 h 3351"/>
                <a:gd name="T58" fmla="*/ 0 w 1589"/>
                <a:gd name="T59" fmla="*/ 0 h 3351"/>
                <a:gd name="T60" fmla="*/ 0 w 1589"/>
                <a:gd name="T61" fmla="*/ 0 h 3351"/>
                <a:gd name="T62" fmla="*/ 0 w 1589"/>
                <a:gd name="T63" fmla="*/ 0 h 3351"/>
                <a:gd name="T64" fmla="*/ 0 w 1589"/>
                <a:gd name="T65" fmla="*/ 0 h 335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89"/>
                <a:gd name="T100" fmla="*/ 0 h 3351"/>
                <a:gd name="T101" fmla="*/ 1589 w 1589"/>
                <a:gd name="T102" fmla="*/ 3351 h 335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89" h="3351">
                  <a:moveTo>
                    <a:pt x="1589" y="0"/>
                  </a:moveTo>
                  <a:lnTo>
                    <a:pt x="1588" y="123"/>
                  </a:lnTo>
                  <a:lnTo>
                    <a:pt x="1584" y="244"/>
                  </a:lnTo>
                  <a:lnTo>
                    <a:pt x="1577" y="364"/>
                  </a:lnTo>
                  <a:lnTo>
                    <a:pt x="1567" y="484"/>
                  </a:lnTo>
                  <a:lnTo>
                    <a:pt x="1554" y="603"/>
                  </a:lnTo>
                  <a:lnTo>
                    <a:pt x="1539" y="721"/>
                  </a:lnTo>
                  <a:lnTo>
                    <a:pt x="1522" y="838"/>
                  </a:lnTo>
                  <a:lnTo>
                    <a:pt x="1501" y="954"/>
                  </a:lnTo>
                  <a:lnTo>
                    <a:pt x="1478" y="1070"/>
                  </a:lnTo>
                  <a:lnTo>
                    <a:pt x="1453" y="1184"/>
                  </a:lnTo>
                  <a:lnTo>
                    <a:pt x="1425" y="1297"/>
                  </a:lnTo>
                  <a:lnTo>
                    <a:pt x="1395" y="1408"/>
                  </a:lnTo>
                  <a:lnTo>
                    <a:pt x="1362" y="1519"/>
                  </a:lnTo>
                  <a:lnTo>
                    <a:pt x="1327" y="1628"/>
                  </a:lnTo>
                  <a:lnTo>
                    <a:pt x="1289" y="1737"/>
                  </a:lnTo>
                  <a:lnTo>
                    <a:pt x="1250" y="1844"/>
                  </a:lnTo>
                  <a:lnTo>
                    <a:pt x="1207" y="1949"/>
                  </a:lnTo>
                  <a:lnTo>
                    <a:pt x="1163" y="2054"/>
                  </a:lnTo>
                  <a:lnTo>
                    <a:pt x="1116" y="2156"/>
                  </a:lnTo>
                  <a:lnTo>
                    <a:pt x="1067" y="2258"/>
                  </a:lnTo>
                  <a:lnTo>
                    <a:pt x="1017" y="2359"/>
                  </a:lnTo>
                  <a:lnTo>
                    <a:pt x="963" y="2457"/>
                  </a:lnTo>
                  <a:lnTo>
                    <a:pt x="908" y="2554"/>
                  </a:lnTo>
                  <a:lnTo>
                    <a:pt x="851" y="2649"/>
                  </a:lnTo>
                  <a:lnTo>
                    <a:pt x="791" y="2743"/>
                  </a:lnTo>
                  <a:lnTo>
                    <a:pt x="730" y="2835"/>
                  </a:lnTo>
                  <a:lnTo>
                    <a:pt x="666" y="2925"/>
                  </a:lnTo>
                  <a:lnTo>
                    <a:pt x="602" y="3014"/>
                  </a:lnTo>
                  <a:lnTo>
                    <a:pt x="535" y="3101"/>
                  </a:lnTo>
                  <a:lnTo>
                    <a:pt x="466" y="3185"/>
                  </a:lnTo>
                  <a:lnTo>
                    <a:pt x="396" y="3270"/>
                  </a:lnTo>
                  <a:lnTo>
                    <a:pt x="323" y="3351"/>
                  </a:lnTo>
                  <a:lnTo>
                    <a:pt x="0" y="3044"/>
                  </a:lnTo>
                  <a:lnTo>
                    <a:pt x="65" y="2970"/>
                  </a:lnTo>
                  <a:lnTo>
                    <a:pt x="130" y="2895"/>
                  </a:lnTo>
                  <a:lnTo>
                    <a:pt x="191" y="2818"/>
                  </a:lnTo>
                  <a:lnTo>
                    <a:pt x="252" y="2739"/>
                  </a:lnTo>
                  <a:lnTo>
                    <a:pt x="311" y="2658"/>
                  </a:lnTo>
                  <a:lnTo>
                    <a:pt x="369" y="2576"/>
                  </a:lnTo>
                  <a:lnTo>
                    <a:pt x="425" y="2492"/>
                  </a:lnTo>
                  <a:lnTo>
                    <a:pt x="479" y="2407"/>
                  </a:lnTo>
                  <a:lnTo>
                    <a:pt x="530" y="2320"/>
                  </a:lnTo>
                  <a:lnTo>
                    <a:pt x="580" y="2232"/>
                  </a:lnTo>
                  <a:lnTo>
                    <a:pt x="629" y="2143"/>
                  </a:lnTo>
                  <a:lnTo>
                    <a:pt x="675" y="2052"/>
                  </a:lnTo>
                  <a:lnTo>
                    <a:pt x="719" y="1960"/>
                  </a:lnTo>
                  <a:lnTo>
                    <a:pt x="761" y="1866"/>
                  </a:lnTo>
                  <a:lnTo>
                    <a:pt x="802" y="1771"/>
                  </a:lnTo>
                  <a:lnTo>
                    <a:pt x="840" y="1675"/>
                  </a:lnTo>
                  <a:lnTo>
                    <a:pt x="876" y="1580"/>
                  </a:lnTo>
                  <a:lnTo>
                    <a:pt x="910" y="1481"/>
                  </a:lnTo>
                  <a:lnTo>
                    <a:pt x="942" y="1381"/>
                  </a:lnTo>
                  <a:lnTo>
                    <a:pt x="972" y="1281"/>
                  </a:lnTo>
                  <a:lnTo>
                    <a:pt x="999" y="1179"/>
                  </a:lnTo>
                  <a:lnTo>
                    <a:pt x="1024" y="1075"/>
                  </a:lnTo>
                  <a:lnTo>
                    <a:pt x="1048" y="972"/>
                  </a:lnTo>
                  <a:lnTo>
                    <a:pt x="1069" y="867"/>
                  </a:lnTo>
                  <a:lnTo>
                    <a:pt x="1086" y="762"/>
                  </a:lnTo>
                  <a:lnTo>
                    <a:pt x="1103" y="655"/>
                  </a:lnTo>
                  <a:lnTo>
                    <a:pt x="1116" y="549"/>
                  </a:lnTo>
                  <a:lnTo>
                    <a:pt x="1128" y="440"/>
                  </a:lnTo>
                  <a:lnTo>
                    <a:pt x="1137" y="332"/>
                  </a:lnTo>
                  <a:lnTo>
                    <a:pt x="1143" y="222"/>
                  </a:lnTo>
                  <a:lnTo>
                    <a:pt x="1147" y="110"/>
                  </a:lnTo>
                  <a:lnTo>
                    <a:pt x="1148" y="0"/>
                  </a:lnTo>
                  <a:lnTo>
                    <a:pt x="1589" y="0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58" name="Freeform 225"/>
            <p:cNvSpPr>
              <a:spLocks/>
            </p:cNvSpPr>
            <p:nvPr/>
          </p:nvSpPr>
          <p:spPr bwMode="auto">
            <a:xfrm>
              <a:off x="1681" y="1994"/>
              <a:ext cx="73" cy="40"/>
            </a:xfrm>
            <a:custGeom>
              <a:avLst/>
              <a:gdLst>
                <a:gd name="T0" fmla="*/ 0 w 3075"/>
                <a:gd name="T1" fmla="*/ 0 h 1703"/>
                <a:gd name="T2" fmla="*/ 0 w 3075"/>
                <a:gd name="T3" fmla="*/ 0 h 1703"/>
                <a:gd name="T4" fmla="*/ 0 w 3075"/>
                <a:gd name="T5" fmla="*/ 0 h 1703"/>
                <a:gd name="T6" fmla="*/ 0 w 3075"/>
                <a:gd name="T7" fmla="*/ 0 h 1703"/>
                <a:gd name="T8" fmla="*/ 0 w 3075"/>
                <a:gd name="T9" fmla="*/ 0 h 1703"/>
                <a:gd name="T10" fmla="*/ 0 w 3075"/>
                <a:gd name="T11" fmla="*/ 0 h 1703"/>
                <a:gd name="T12" fmla="*/ 0 w 3075"/>
                <a:gd name="T13" fmla="*/ 0 h 1703"/>
                <a:gd name="T14" fmla="*/ 0 w 3075"/>
                <a:gd name="T15" fmla="*/ 0 h 1703"/>
                <a:gd name="T16" fmla="*/ 0 w 3075"/>
                <a:gd name="T17" fmla="*/ 0 h 1703"/>
                <a:gd name="T18" fmla="*/ 0 w 3075"/>
                <a:gd name="T19" fmla="*/ 0 h 1703"/>
                <a:gd name="T20" fmla="*/ 0 w 3075"/>
                <a:gd name="T21" fmla="*/ 0 h 1703"/>
                <a:gd name="T22" fmla="*/ 0 w 3075"/>
                <a:gd name="T23" fmla="*/ 0 h 1703"/>
                <a:gd name="T24" fmla="*/ 0 w 3075"/>
                <a:gd name="T25" fmla="*/ 0 h 1703"/>
                <a:gd name="T26" fmla="*/ 0 w 3075"/>
                <a:gd name="T27" fmla="*/ 0 h 1703"/>
                <a:gd name="T28" fmla="*/ 0 w 3075"/>
                <a:gd name="T29" fmla="*/ 0 h 1703"/>
                <a:gd name="T30" fmla="*/ 0 w 3075"/>
                <a:gd name="T31" fmla="*/ 0 h 1703"/>
                <a:gd name="T32" fmla="*/ 0 w 3075"/>
                <a:gd name="T33" fmla="*/ 0 h 1703"/>
                <a:gd name="T34" fmla="*/ 0 w 3075"/>
                <a:gd name="T35" fmla="*/ 0 h 1703"/>
                <a:gd name="T36" fmla="*/ 0 w 3075"/>
                <a:gd name="T37" fmla="*/ 0 h 1703"/>
                <a:gd name="T38" fmla="*/ 0 w 3075"/>
                <a:gd name="T39" fmla="*/ 0 h 1703"/>
                <a:gd name="T40" fmla="*/ 0 w 3075"/>
                <a:gd name="T41" fmla="*/ 0 h 1703"/>
                <a:gd name="T42" fmla="*/ 0 w 3075"/>
                <a:gd name="T43" fmla="*/ 0 h 1703"/>
                <a:gd name="T44" fmla="*/ 0 w 3075"/>
                <a:gd name="T45" fmla="*/ 0 h 1703"/>
                <a:gd name="T46" fmla="*/ 0 w 3075"/>
                <a:gd name="T47" fmla="*/ 0 h 1703"/>
                <a:gd name="T48" fmla="*/ 0 w 3075"/>
                <a:gd name="T49" fmla="*/ 0 h 1703"/>
                <a:gd name="T50" fmla="*/ 0 w 3075"/>
                <a:gd name="T51" fmla="*/ 0 h 1703"/>
                <a:gd name="T52" fmla="*/ 0 w 3075"/>
                <a:gd name="T53" fmla="*/ 0 h 1703"/>
                <a:gd name="T54" fmla="*/ 0 w 3075"/>
                <a:gd name="T55" fmla="*/ 0 h 1703"/>
                <a:gd name="T56" fmla="*/ 0 w 3075"/>
                <a:gd name="T57" fmla="*/ 0 h 1703"/>
                <a:gd name="T58" fmla="*/ 0 w 3075"/>
                <a:gd name="T59" fmla="*/ 0 h 1703"/>
                <a:gd name="T60" fmla="*/ 0 w 3075"/>
                <a:gd name="T61" fmla="*/ 0 h 1703"/>
                <a:gd name="T62" fmla="*/ 0 w 3075"/>
                <a:gd name="T63" fmla="*/ 0 h 1703"/>
                <a:gd name="T64" fmla="*/ 0 w 3075"/>
                <a:gd name="T65" fmla="*/ 0 h 17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75"/>
                <a:gd name="T100" fmla="*/ 0 h 1703"/>
                <a:gd name="T101" fmla="*/ 3075 w 3075"/>
                <a:gd name="T102" fmla="*/ 1703 h 17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75" h="1703">
                  <a:moveTo>
                    <a:pt x="3075" y="307"/>
                  </a:moveTo>
                  <a:lnTo>
                    <a:pt x="3001" y="386"/>
                  </a:lnTo>
                  <a:lnTo>
                    <a:pt x="2924" y="465"/>
                  </a:lnTo>
                  <a:lnTo>
                    <a:pt x="2846" y="540"/>
                  </a:lnTo>
                  <a:lnTo>
                    <a:pt x="2767" y="615"/>
                  </a:lnTo>
                  <a:lnTo>
                    <a:pt x="2685" y="686"/>
                  </a:lnTo>
                  <a:lnTo>
                    <a:pt x="2602" y="756"/>
                  </a:lnTo>
                  <a:lnTo>
                    <a:pt x="2518" y="824"/>
                  </a:lnTo>
                  <a:lnTo>
                    <a:pt x="2432" y="889"/>
                  </a:lnTo>
                  <a:lnTo>
                    <a:pt x="2345" y="953"/>
                  </a:lnTo>
                  <a:lnTo>
                    <a:pt x="2256" y="1014"/>
                  </a:lnTo>
                  <a:lnTo>
                    <a:pt x="2165" y="1072"/>
                  </a:lnTo>
                  <a:lnTo>
                    <a:pt x="2074" y="1128"/>
                  </a:lnTo>
                  <a:lnTo>
                    <a:pt x="1980" y="1181"/>
                  </a:lnTo>
                  <a:lnTo>
                    <a:pt x="1886" y="1233"/>
                  </a:lnTo>
                  <a:lnTo>
                    <a:pt x="1790" y="1282"/>
                  </a:lnTo>
                  <a:lnTo>
                    <a:pt x="1694" y="1328"/>
                  </a:lnTo>
                  <a:lnTo>
                    <a:pt x="1595" y="1373"/>
                  </a:lnTo>
                  <a:lnTo>
                    <a:pt x="1495" y="1414"/>
                  </a:lnTo>
                  <a:lnTo>
                    <a:pt x="1395" y="1452"/>
                  </a:lnTo>
                  <a:lnTo>
                    <a:pt x="1293" y="1489"/>
                  </a:lnTo>
                  <a:lnTo>
                    <a:pt x="1191" y="1523"/>
                  </a:lnTo>
                  <a:lnTo>
                    <a:pt x="1086" y="1554"/>
                  </a:lnTo>
                  <a:lnTo>
                    <a:pt x="982" y="1581"/>
                  </a:lnTo>
                  <a:lnTo>
                    <a:pt x="876" y="1607"/>
                  </a:lnTo>
                  <a:lnTo>
                    <a:pt x="770" y="1629"/>
                  </a:lnTo>
                  <a:lnTo>
                    <a:pt x="663" y="1648"/>
                  </a:lnTo>
                  <a:lnTo>
                    <a:pt x="553" y="1665"/>
                  </a:lnTo>
                  <a:lnTo>
                    <a:pt x="445" y="1679"/>
                  </a:lnTo>
                  <a:lnTo>
                    <a:pt x="335" y="1689"/>
                  </a:lnTo>
                  <a:lnTo>
                    <a:pt x="223" y="1697"/>
                  </a:lnTo>
                  <a:lnTo>
                    <a:pt x="112" y="1702"/>
                  </a:lnTo>
                  <a:lnTo>
                    <a:pt x="0" y="1703"/>
                  </a:lnTo>
                  <a:lnTo>
                    <a:pt x="0" y="1254"/>
                  </a:lnTo>
                  <a:lnTo>
                    <a:pt x="100" y="1253"/>
                  </a:lnTo>
                  <a:lnTo>
                    <a:pt x="199" y="1247"/>
                  </a:lnTo>
                  <a:lnTo>
                    <a:pt x="299" y="1240"/>
                  </a:lnTo>
                  <a:lnTo>
                    <a:pt x="397" y="1231"/>
                  </a:lnTo>
                  <a:lnTo>
                    <a:pt x="494" y="1219"/>
                  </a:lnTo>
                  <a:lnTo>
                    <a:pt x="591" y="1204"/>
                  </a:lnTo>
                  <a:lnTo>
                    <a:pt x="688" y="1186"/>
                  </a:lnTo>
                  <a:lnTo>
                    <a:pt x="782" y="1167"/>
                  </a:lnTo>
                  <a:lnTo>
                    <a:pt x="877" y="1143"/>
                  </a:lnTo>
                  <a:lnTo>
                    <a:pt x="971" y="1119"/>
                  </a:lnTo>
                  <a:lnTo>
                    <a:pt x="1064" y="1091"/>
                  </a:lnTo>
                  <a:lnTo>
                    <a:pt x="1156" y="1061"/>
                  </a:lnTo>
                  <a:lnTo>
                    <a:pt x="1246" y="1028"/>
                  </a:lnTo>
                  <a:lnTo>
                    <a:pt x="1336" y="993"/>
                  </a:lnTo>
                  <a:lnTo>
                    <a:pt x="1425" y="956"/>
                  </a:lnTo>
                  <a:lnTo>
                    <a:pt x="1513" y="917"/>
                  </a:lnTo>
                  <a:lnTo>
                    <a:pt x="1601" y="875"/>
                  </a:lnTo>
                  <a:lnTo>
                    <a:pt x="1686" y="831"/>
                  </a:lnTo>
                  <a:lnTo>
                    <a:pt x="1770" y="785"/>
                  </a:lnTo>
                  <a:lnTo>
                    <a:pt x="1854" y="737"/>
                  </a:lnTo>
                  <a:lnTo>
                    <a:pt x="1936" y="686"/>
                  </a:lnTo>
                  <a:lnTo>
                    <a:pt x="2017" y="633"/>
                  </a:lnTo>
                  <a:lnTo>
                    <a:pt x="2096" y="579"/>
                  </a:lnTo>
                  <a:lnTo>
                    <a:pt x="2175" y="522"/>
                  </a:lnTo>
                  <a:lnTo>
                    <a:pt x="2252" y="464"/>
                  </a:lnTo>
                  <a:lnTo>
                    <a:pt x="2327" y="404"/>
                  </a:lnTo>
                  <a:lnTo>
                    <a:pt x="2402" y="340"/>
                  </a:lnTo>
                  <a:lnTo>
                    <a:pt x="2474" y="276"/>
                  </a:lnTo>
                  <a:lnTo>
                    <a:pt x="2546" y="210"/>
                  </a:lnTo>
                  <a:lnTo>
                    <a:pt x="2616" y="141"/>
                  </a:lnTo>
                  <a:lnTo>
                    <a:pt x="2684" y="72"/>
                  </a:lnTo>
                  <a:lnTo>
                    <a:pt x="2752" y="0"/>
                  </a:lnTo>
                  <a:lnTo>
                    <a:pt x="3075" y="307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59" name="Rectangle 226"/>
            <p:cNvSpPr>
              <a:spLocks noChangeArrowheads="1"/>
            </p:cNvSpPr>
            <p:nvPr/>
          </p:nvSpPr>
          <p:spPr bwMode="auto">
            <a:xfrm>
              <a:off x="1681" y="2023"/>
              <a:ext cx="1" cy="1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60" name="Rectangle 227"/>
            <p:cNvSpPr>
              <a:spLocks noChangeArrowheads="1"/>
            </p:cNvSpPr>
            <p:nvPr/>
          </p:nvSpPr>
          <p:spPr bwMode="auto">
            <a:xfrm>
              <a:off x="1681" y="2023"/>
              <a:ext cx="1" cy="1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61" name="Freeform 228"/>
            <p:cNvSpPr>
              <a:spLocks/>
            </p:cNvSpPr>
            <p:nvPr/>
          </p:nvSpPr>
          <p:spPr bwMode="auto">
            <a:xfrm>
              <a:off x="1607" y="1994"/>
              <a:ext cx="74" cy="40"/>
            </a:xfrm>
            <a:custGeom>
              <a:avLst/>
              <a:gdLst>
                <a:gd name="T0" fmla="*/ 0 w 3075"/>
                <a:gd name="T1" fmla="*/ 0 h 1703"/>
                <a:gd name="T2" fmla="*/ 0 w 3075"/>
                <a:gd name="T3" fmla="*/ 0 h 1703"/>
                <a:gd name="T4" fmla="*/ 0 w 3075"/>
                <a:gd name="T5" fmla="*/ 0 h 1703"/>
                <a:gd name="T6" fmla="*/ 0 w 3075"/>
                <a:gd name="T7" fmla="*/ 0 h 1703"/>
                <a:gd name="T8" fmla="*/ 0 w 3075"/>
                <a:gd name="T9" fmla="*/ 0 h 1703"/>
                <a:gd name="T10" fmla="*/ 0 w 3075"/>
                <a:gd name="T11" fmla="*/ 0 h 1703"/>
                <a:gd name="T12" fmla="*/ 0 w 3075"/>
                <a:gd name="T13" fmla="*/ 0 h 1703"/>
                <a:gd name="T14" fmla="*/ 0 w 3075"/>
                <a:gd name="T15" fmla="*/ 0 h 1703"/>
                <a:gd name="T16" fmla="*/ 0 w 3075"/>
                <a:gd name="T17" fmla="*/ 0 h 1703"/>
                <a:gd name="T18" fmla="*/ 0 w 3075"/>
                <a:gd name="T19" fmla="*/ 0 h 1703"/>
                <a:gd name="T20" fmla="*/ 0 w 3075"/>
                <a:gd name="T21" fmla="*/ 0 h 1703"/>
                <a:gd name="T22" fmla="*/ 0 w 3075"/>
                <a:gd name="T23" fmla="*/ 0 h 1703"/>
                <a:gd name="T24" fmla="*/ 0 w 3075"/>
                <a:gd name="T25" fmla="*/ 0 h 1703"/>
                <a:gd name="T26" fmla="*/ 0 w 3075"/>
                <a:gd name="T27" fmla="*/ 0 h 1703"/>
                <a:gd name="T28" fmla="*/ 0 w 3075"/>
                <a:gd name="T29" fmla="*/ 0 h 1703"/>
                <a:gd name="T30" fmla="*/ 0 w 3075"/>
                <a:gd name="T31" fmla="*/ 0 h 1703"/>
                <a:gd name="T32" fmla="*/ 0 w 3075"/>
                <a:gd name="T33" fmla="*/ 0 h 1703"/>
                <a:gd name="T34" fmla="*/ 0 w 3075"/>
                <a:gd name="T35" fmla="*/ 0 h 1703"/>
                <a:gd name="T36" fmla="*/ 0 w 3075"/>
                <a:gd name="T37" fmla="*/ 0 h 1703"/>
                <a:gd name="T38" fmla="*/ 0 w 3075"/>
                <a:gd name="T39" fmla="*/ 0 h 1703"/>
                <a:gd name="T40" fmla="*/ 0 w 3075"/>
                <a:gd name="T41" fmla="*/ 0 h 1703"/>
                <a:gd name="T42" fmla="*/ 0 w 3075"/>
                <a:gd name="T43" fmla="*/ 0 h 1703"/>
                <a:gd name="T44" fmla="*/ 0 w 3075"/>
                <a:gd name="T45" fmla="*/ 0 h 1703"/>
                <a:gd name="T46" fmla="*/ 0 w 3075"/>
                <a:gd name="T47" fmla="*/ 0 h 1703"/>
                <a:gd name="T48" fmla="*/ 0 w 3075"/>
                <a:gd name="T49" fmla="*/ 0 h 1703"/>
                <a:gd name="T50" fmla="*/ 0 w 3075"/>
                <a:gd name="T51" fmla="*/ 0 h 1703"/>
                <a:gd name="T52" fmla="*/ 0 w 3075"/>
                <a:gd name="T53" fmla="*/ 0 h 1703"/>
                <a:gd name="T54" fmla="*/ 0 w 3075"/>
                <a:gd name="T55" fmla="*/ 0 h 1703"/>
                <a:gd name="T56" fmla="*/ 0 w 3075"/>
                <a:gd name="T57" fmla="*/ 0 h 1703"/>
                <a:gd name="T58" fmla="*/ 0 w 3075"/>
                <a:gd name="T59" fmla="*/ 0 h 1703"/>
                <a:gd name="T60" fmla="*/ 0 w 3075"/>
                <a:gd name="T61" fmla="*/ 0 h 1703"/>
                <a:gd name="T62" fmla="*/ 0 w 3075"/>
                <a:gd name="T63" fmla="*/ 0 h 1703"/>
                <a:gd name="T64" fmla="*/ 0 w 3075"/>
                <a:gd name="T65" fmla="*/ 0 h 17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75"/>
                <a:gd name="T100" fmla="*/ 0 h 1703"/>
                <a:gd name="T101" fmla="*/ 3075 w 3075"/>
                <a:gd name="T102" fmla="*/ 1703 h 17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75" h="1703">
                  <a:moveTo>
                    <a:pt x="3075" y="1703"/>
                  </a:moveTo>
                  <a:lnTo>
                    <a:pt x="2963" y="1702"/>
                  </a:lnTo>
                  <a:lnTo>
                    <a:pt x="2851" y="1697"/>
                  </a:lnTo>
                  <a:lnTo>
                    <a:pt x="2739" y="1689"/>
                  </a:lnTo>
                  <a:lnTo>
                    <a:pt x="2630" y="1679"/>
                  </a:lnTo>
                  <a:lnTo>
                    <a:pt x="2521" y="1665"/>
                  </a:lnTo>
                  <a:lnTo>
                    <a:pt x="2411" y="1648"/>
                  </a:lnTo>
                  <a:lnTo>
                    <a:pt x="2304" y="1629"/>
                  </a:lnTo>
                  <a:lnTo>
                    <a:pt x="2198" y="1607"/>
                  </a:lnTo>
                  <a:lnTo>
                    <a:pt x="2092" y="1581"/>
                  </a:lnTo>
                  <a:lnTo>
                    <a:pt x="1987" y="1554"/>
                  </a:lnTo>
                  <a:lnTo>
                    <a:pt x="1883" y="1523"/>
                  </a:lnTo>
                  <a:lnTo>
                    <a:pt x="1781" y="1489"/>
                  </a:lnTo>
                  <a:lnTo>
                    <a:pt x="1679" y="1452"/>
                  </a:lnTo>
                  <a:lnTo>
                    <a:pt x="1579" y="1414"/>
                  </a:lnTo>
                  <a:lnTo>
                    <a:pt x="1479" y="1373"/>
                  </a:lnTo>
                  <a:lnTo>
                    <a:pt x="1381" y="1328"/>
                  </a:lnTo>
                  <a:lnTo>
                    <a:pt x="1285" y="1282"/>
                  </a:lnTo>
                  <a:lnTo>
                    <a:pt x="1189" y="1232"/>
                  </a:lnTo>
                  <a:lnTo>
                    <a:pt x="1094" y="1181"/>
                  </a:lnTo>
                  <a:lnTo>
                    <a:pt x="1001" y="1128"/>
                  </a:lnTo>
                  <a:lnTo>
                    <a:pt x="909" y="1072"/>
                  </a:lnTo>
                  <a:lnTo>
                    <a:pt x="819" y="1013"/>
                  </a:lnTo>
                  <a:lnTo>
                    <a:pt x="730" y="953"/>
                  </a:lnTo>
                  <a:lnTo>
                    <a:pt x="642" y="889"/>
                  </a:lnTo>
                  <a:lnTo>
                    <a:pt x="556" y="824"/>
                  </a:lnTo>
                  <a:lnTo>
                    <a:pt x="472" y="756"/>
                  </a:lnTo>
                  <a:lnTo>
                    <a:pt x="389" y="685"/>
                  </a:lnTo>
                  <a:lnTo>
                    <a:pt x="308" y="615"/>
                  </a:lnTo>
                  <a:lnTo>
                    <a:pt x="228" y="540"/>
                  </a:lnTo>
                  <a:lnTo>
                    <a:pt x="151" y="465"/>
                  </a:lnTo>
                  <a:lnTo>
                    <a:pt x="74" y="386"/>
                  </a:lnTo>
                  <a:lnTo>
                    <a:pt x="0" y="307"/>
                  </a:lnTo>
                  <a:lnTo>
                    <a:pt x="323" y="0"/>
                  </a:lnTo>
                  <a:lnTo>
                    <a:pt x="390" y="72"/>
                  </a:lnTo>
                  <a:lnTo>
                    <a:pt x="459" y="141"/>
                  </a:lnTo>
                  <a:lnTo>
                    <a:pt x="528" y="209"/>
                  </a:lnTo>
                  <a:lnTo>
                    <a:pt x="600" y="276"/>
                  </a:lnTo>
                  <a:lnTo>
                    <a:pt x="672" y="340"/>
                  </a:lnTo>
                  <a:lnTo>
                    <a:pt x="747" y="403"/>
                  </a:lnTo>
                  <a:lnTo>
                    <a:pt x="822" y="464"/>
                  </a:lnTo>
                  <a:lnTo>
                    <a:pt x="900" y="522"/>
                  </a:lnTo>
                  <a:lnTo>
                    <a:pt x="978" y="579"/>
                  </a:lnTo>
                  <a:lnTo>
                    <a:pt x="1057" y="633"/>
                  </a:lnTo>
                  <a:lnTo>
                    <a:pt x="1139" y="685"/>
                  </a:lnTo>
                  <a:lnTo>
                    <a:pt x="1221" y="737"/>
                  </a:lnTo>
                  <a:lnTo>
                    <a:pt x="1304" y="785"/>
                  </a:lnTo>
                  <a:lnTo>
                    <a:pt x="1388" y="831"/>
                  </a:lnTo>
                  <a:lnTo>
                    <a:pt x="1474" y="875"/>
                  </a:lnTo>
                  <a:lnTo>
                    <a:pt x="1561" y="917"/>
                  </a:lnTo>
                  <a:lnTo>
                    <a:pt x="1648" y="956"/>
                  </a:lnTo>
                  <a:lnTo>
                    <a:pt x="1737" y="993"/>
                  </a:lnTo>
                  <a:lnTo>
                    <a:pt x="1827" y="1028"/>
                  </a:lnTo>
                  <a:lnTo>
                    <a:pt x="1918" y="1061"/>
                  </a:lnTo>
                  <a:lnTo>
                    <a:pt x="2010" y="1091"/>
                  </a:lnTo>
                  <a:lnTo>
                    <a:pt x="2103" y="1119"/>
                  </a:lnTo>
                  <a:lnTo>
                    <a:pt x="2197" y="1143"/>
                  </a:lnTo>
                  <a:lnTo>
                    <a:pt x="2291" y="1167"/>
                  </a:lnTo>
                  <a:lnTo>
                    <a:pt x="2386" y="1186"/>
                  </a:lnTo>
                  <a:lnTo>
                    <a:pt x="2483" y="1204"/>
                  </a:lnTo>
                  <a:lnTo>
                    <a:pt x="2580" y="1219"/>
                  </a:lnTo>
                  <a:lnTo>
                    <a:pt x="2678" y="1231"/>
                  </a:lnTo>
                  <a:lnTo>
                    <a:pt x="2776" y="1241"/>
                  </a:lnTo>
                  <a:lnTo>
                    <a:pt x="2875" y="1248"/>
                  </a:lnTo>
                  <a:lnTo>
                    <a:pt x="2974" y="1253"/>
                  </a:lnTo>
                  <a:lnTo>
                    <a:pt x="3075" y="1254"/>
                  </a:lnTo>
                  <a:lnTo>
                    <a:pt x="3075" y="1703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62" name="Freeform 229"/>
            <p:cNvSpPr>
              <a:spLocks/>
            </p:cNvSpPr>
            <p:nvPr/>
          </p:nvSpPr>
          <p:spPr bwMode="auto">
            <a:xfrm>
              <a:off x="1577" y="1923"/>
              <a:ext cx="38" cy="78"/>
            </a:xfrm>
            <a:custGeom>
              <a:avLst/>
              <a:gdLst>
                <a:gd name="T0" fmla="*/ 0 w 1589"/>
                <a:gd name="T1" fmla="*/ 0 h 3351"/>
                <a:gd name="T2" fmla="*/ 0 w 1589"/>
                <a:gd name="T3" fmla="*/ 0 h 3351"/>
                <a:gd name="T4" fmla="*/ 0 w 1589"/>
                <a:gd name="T5" fmla="*/ 0 h 3351"/>
                <a:gd name="T6" fmla="*/ 0 w 1589"/>
                <a:gd name="T7" fmla="*/ 0 h 3351"/>
                <a:gd name="T8" fmla="*/ 0 w 1589"/>
                <a:gd name="T9" fmla="*/ 0 h 3351"/>
                <a:gd name="T10" fmla="*/ 0 w 1589"/>
                <a:gd name="T11" fmla="*/ 0 h 3351"/>
                <a:gd name="T12" fmla="*/ 0 w 1589"/>
                <a:gd name="T13" fmla="*/ 0 h 3351"/>
                <a:gd name="T14" fmla="*/ 0 w 1589"/>
                <a:gd name="T15" fmla="*/ 0 h 3351"/>
                <a:gd name="T16" fmla="*/ 0 w 1589"/>
                <a:gd name="T17" fmla="*/ 0 h 3351"/>
                <a:gd name="T18" fmla="*/ 0 w 1589"/>
                <a:gd name="T19" fmla="*/ 0 h 3351"/>
                <a:gd name="T20" fmla="*/ 0 w 1589"/>
                <a:gd name="T21" fmla="*/ 0 h 3351"/>
                <a:gd name="T22" fmla="*/ 0 w 1589"/>
                <a:gd name="T23" fmla="*/ 0 h 3351"/>
                <a:gd name="T24" fmla="*/ 0 w 1589"/>
                <a:gd name="T25" fmla="*/ 0 h 3351"/>
                <a:gd name="T26" fmla="*/ 0 w 1589"/>
                <a:gd name="T27" fmla="*/ 0 h 3351"/>
                <a:gd name="T28" fmla="*/ 0 w 1589"/>
                <a:gd name="T29" fmla="*/ 0 h 3351"/>
                <a:gd name="T30" fmla="*/ 0 w 1589"/>
                <a:gd name="T31" fmla="*/ 0 h 3351"/>
                <a:gd name="T32" fmla="*/ 0 w 1589"/>
                <a:gd name="T33" fmla="*/ 0 h 3351"/>
                <a:gd name="T34" fmla="*/ 0 w 1589"/>
                <a:gd name="T35" fmla="*/ 0 h 3351"/>
                <a:gd name="T36" fmla="*/ 0 w 1589"/>
                <a:gd name="T37" fmla="*/ 0 h 3351"/>
                <a:gd name="T38" fmla="*/ 0 w 1589"/>
                <a:gd name="T39" fmla="*/ 0 h 3351"/>
                <a:gd name="T40" fmla="*/ 0 w 1589"/>
                <a:gd name="T41" fmla="*/ 0 h 3351"/>
                <a:gd name="T42" fmla="*/ 0 w 1589"/>
                <a:gd name="T43" fmla="*/ 0 h 3351"/>
                <a:gd name="T44" fmla="*/ 0 w 1589"/>
                <a:gd name="T45" fmla="*/ 0 h 3351"/>
                <a:gd name="T46" fmla="*/ 0 w 1589"/>
                <a:gd name="T47" fmla="*/ 0 h 3351"/>
                <a:gd name="T48" fmla="*/ 0 w 1589"/>
                <a:gd name="T49" fmla="*/ 0 h 3351"/>
                <a:gd name="T50" fmla="*/ 0 w 1589"/>
                <a:gd name="T51" fmla="*/ 0 h 3351"/>
                <a:gd name="T52" fmla="*/ 0 w 1589"/>
                <a:gd name="T53" fmla="*/ 0 h 3351"/>
                <a:gd name="T54" fmla="*/ 0 w 1589"/>
                <a:gd name="T55" fmla="*/ 0 h 3351"/>
                <a:gd name="T56" fmla="*/ 0 w 1589"/>
                <a:gd name="T57" fmla="*/ 0 h 3351"/>
                <a:gd name="T58" fmla="*/ 0 w 1589"/>
                <a:gd name="T59" fmla="*/ 0 h 3351"/>
                <a:gd name="T60" fmla="*/ 0 w 1589"/>
                <a:gd name="T61" fmla="*/ 0 h 3351"/>
                <a:gd name="T62" fmla="*/ 0 w 1589"/>
                <a:gd name="T63" fmla="*/ 0 h 3351"/>
                <a:gd name="T64" fmla="*/ 0 w 1589"/>
                <a:gd name="T65" fmla="*/ 0 h 335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89"/>
                <a:gd name="T100" fmla="*/ 0 h 3351"/>
                <a:gd name="T101" fmla="*/ 1589 w 1589"/>
                <a:gd name="T102" fmla="*/ 3351 h 335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89" h="3351">
                  <a:moveTo>
                    <a:pt x="1266" y="3351"/>
                  </a:moveTo>
                  <a:lnTo>
                    <a:pt x="1193" y="3269"/>
                  </a:lnTo>
                  <a:lnTo>
                    <a:pt x="1123" y="3185"/>
                  </a:lnTo>
                  <a:lnTo>
                    <a:pt x="1054" y="3101"/>
                  </a:lnTo>
                  <a:lnTo>
                    <a:pt x="986" y="3014"/>
                  </a:lnTo>
                  <a:lnTo>
                    <a:pt x="922" y="2925"/>
                  </a:lnTo>
                  <a:lnTo>
                    <a:pt x="859" y="2834"/>
                  </a:lnTo>
                  <a:lnTo>
                    <a:pt x="797" y="2743"/>
                  </a:lnTo>
                  <a:lnTo>
                    <a:pt x="738" y="2649"/>
                  </a:lnTo>
                  <a:lnTo>
                    <a:pt x="681" y="2553"/>
                  </a:lnTo>
                  <a:lnTo>
                    <a:pt x="626" y="2457"/>
                  </a:lnTo>
                  <a:lnTo>
                    <a:pt x="572" y="2358"/>
                  </a:lnTo>
                  <a:lnTo>
                    <a:pt x="521" y="2258"/>
                  </a:lnTo>
                  <a:lnTo>
                    <a:pt x="473" y="2156"/>
                  </a:lnTo>
                  <a:lnTo>
                    <a:pt x="426" y="2054"/>
                  </a:lnTo>
                  <a:lnTo>
                    <a:pt x="382" y="1949"/>
                  </a:lnTo>
                  <a:lnTo>
                    <a:pt x="339" y="1844"/>
                  </a:lnTo>
                  <a:lnTo>
                    <a:pt x="300" y="1737"/>
                  </a:lnTo>
                  <a:lnTo>
                    <a:pt x="262" y="1628"/>
                  </a:lnTo>
                  <a:lnTo>
                    <a:pt x="227" y="1519"/>
                  </a:lnTo>
                  <a:lnTo>
                    <a:pt x="194" y="1408"/>
                  </a:lnTo>
                  <a:lnTo>
                    <a:pt x="164" y="1297"/>
                  </a:lnTo>
                  <a:lnTo>
                    <a:pt x="136" y="1185"/>
                  </a:lnTo>
                  <a:lnTo>
                    <a:pt x="111" y="1070"/>
                  </a:lnTo>
                  <a:lnTo>
                    <a:pt x="88" y="954"/>
                  </a:lnTo>
                  <a:lnTo>
                    <a:pt x="68" y="839"/>
                  </a:lnTo>
                  <a:lnTo>
                    <a:pt x="50" y="721"/>
                  </a:lnTo>
                  <a:lnTo>
                    <a:pt x="35" y="604"/>
                  </a:lnTo>
                  <a:lnTo>
                    <a:pt x="22" y="485"/>
                  </a:lnTo>
                  <a:lnTo>
                    <a:pt x="12" y="365"/>
                  </a:lnTo>
                  <a:lnTo>
                    <a:pt x="5" y="244"/>
                  </a:lnTo>
                  <a:lnTo>
                    <a:pt x="1" y="123"/>
                  </a:lnTo>
                  <a:lnTo>
                    <a:pt x="0" y="0"/>
                  </a:lnTo>
                  <a:lnTo>
                    <a:pt x="441" y="0"/>
                  </a:lnTo>
                  <a:lnTo>
                    <a:pt x="442" y="111"/>
                  </a:lnTo>
                  <a:lnTo>
                    <a:pt x="446" y="223"/>
                  </a:lnTo>
                  <a:lnTo>
                    <a:pt x="452" y="332"/>
                  </a:lnTo>
                  <a:lnTo>
                    <a:pt x="461" y="440"/>
                  </a:lnTo>
                  <a:lnTo>
                    <a:pt x="473" y="549"/>
                  </a:lnTo>
                  <a:lnTo>
                    <a:pt x="486" y="656"/>
                  </a:lnTo>
                  <a:lnTo>
                    <a:pt x="502" y="763"/>
                  </a:lnTo>
                  <a:lnTo>
                    <a:pt x="521" y="867"/>
                  </a:lnTo>
                  <a:lnTo>
                    <a:pt x="541" y="973"/>
                  </a:lnTo>
                  <a:lnTo>
                    <a:pt x="565" y="1077"/>
                  </a:lnTo>
                  <a:lnTo>
                    <a:pt x="590" y="1180"/>
                  </a:lnTo>
                  <a:lnTo>
                    <a:pt x="617" y="1281"/>
                  </a:lnTo>
                  <a:lnTo>
                    <a:pt x="647" y="1381"/>
                  </a:lnTo>
                  <a:lnTo>
                    <a:pt x="679" y="1481"/>
                  </a:lnTo>
                  <a:lnTo>
                    <a:pt x="713" y="1580"/>
                  </a:lnTo>
                  <a:lnTo>
                    <a:pt x="749" y="1675"/>
                  </a:lnTo>
                  <a:lnTo>
                    <a:pt x="787" y="1771"/>
                  </a:lnTo>
                  <a:lnTo>
                    <a:pt x="828" y="1866"/>
                  </a:lnTo>
                  <a:lnTo>
                    <a:pt x="870" y="1960"/>
                  </a:lnTo>
                  <a:lnTo>
                    <a:pt x="914" y="2052"/>
                  </a:lnTo>
                  <a:lnTo>
                    <a:pt x="960" y="2143"/>
                  </a:lnTo>
                  <a:lnTo>
                    <a:pt x="1009" y="2232"/>
                  </a:lnTo>
                  <a:lnTo>
                    <a:pt x="1059" y="2320"/>
                  </a:lnTo>
                  <a:lnTo>
                    <a:pt x="1110" y="2407"/>
                  </a:lnTo>
                  <a:lnTo>
                    <a:pt x="1164" y="2492"/>
                  </a:lnTo>
                  <a:lnTo>
                    <a:pt x="1219" y="2576"/>
                  </a:lnTo>
                  <a:lnTo>
                    <a:pt x="1277" y="2658"/>
                  </a:lnTo>
                  <a:lnTo>
                    <a:pt x="1337" y="2738"/>
                  </a:lnTo>
                  <a:lnTo>
                    <a:pt x="1397" y="2817"/>
                  </a:lnTo>
                  <a:lnTo>
                    <a:pt x="1459" y="2894"/>
                  </a:lnTo>
                  <a:lnTo>
                    <a:pt x="1523" y="2970"/>
                  </a:lnTo>
                  <a:lnTo>
                    <a:pt x="1589" y="3044"/>
                  </a:lnTo>
                  <a:lnTo>
                    <a:pt x="1266" y="3351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63" name="Rectangle 230"/>
            <p:cNvSpPr>
              <a:spLocks noChangeArrowheads="1"/>
            </p:cNvSpPr>
            <p:nvPr/>
          </p:nvSpPr>
          <p:spPr bwMode="auto">
            <a:xfrm>
              <a:off x="1577" y="1923"/>
              <a:ext cx="11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64" name="Rectangle 231"/>
            <p:cNvSpPr>
              <a:spLocks noChangeArrowheads="1"/>
            </p:cNvSpPr>
            <p:nvPr/>
          </p:nvSpPr>
          <p:spPr bwMode="auto">
            <a:xfrm>
              <a:off x="1577" y="1923"/>
              <a:ext cx="11" cy="1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65" name="Freeform 232"/>
            <p:cNvSpPr>
              <a:spLocks/>
            </p:cNvSpPr>
            <p:nvPr/>
          </p:nvSpPr>
          <p:spPr bwMode="auto">
            <a:xfrm>
              <a:off x="1577" y="1845"/>
              <a:ext cx="38" cy="78"/>
            </a:xfrm>
            <a:custGeom>
              <a:avLst/>
              <a:gdLst>
                <a:gd name="T0" fmla="*/ 0 w 1590"/>
                <a:gd name="T1" fmla="*/ 0 h 3352"/>
                <a:gd name="T2" fmla="*/ 0 w 1590"/>
                <a:gd name="T3" fmla="*/ 0 h 3352"/>
                <a:gd name="T4" fmla="*/ 0 w 1590"/>
                <a:gd name="T5" fmla="*/ 0 h 3352"/>
                <a:gd name="T6" fmla="*/ 0 w 1590"/>
                <a:gd name="T7" fmla="*/ 0 h 3352"/>
                <a:gd name="T8" fmla="*/ 0 w 1590"/>
                <a:gd name="T9" fmla="*/ 0 h 3352"/>
                <a:gd name="T10" fmla="*/ 0 w 1590"/>
                <a:gd name="T11" fmla="*/ 0 h 3352"/>
                <a:gd name="T12" fmla="*/ 0 w 1590"/>
                <a:gd name="T13" fmla="*/ 0 h 3352"/>
                <a:gd name="T14" fmla="*/ 0 w 1590"/>
                <a:gd name="T15" fmla="*/ 0 h 3352"/>
                <a:gd name="T16" fmla="*/ 0 w 1590"/>
                <a:gd name="T17" fmla="*/ 0 h 3352"/>
                <a:gd name="T18" fmla="*/ 0 w 1590"/>
                <a:gd name="T19" fmla="*/ 0 h 3352"/>
                <a:gd name="T20" fmla="*/ 0 w 1590"/>
                <a:gd name="T21" fmla="*/ 0 h 3352"/>
                <a:gd name="T22" fmla="*/ 0 w 1590"/>
                <a:gd name="T23" fmla="*/ 0 h 3352"/>
                <a:gd name="T24" fmla="*/ 0 w 1590"/>
                <a:gd name="T25" fmla="*/ 0 h 3352"/>
                <a:gd name="T26" fmla="*/ 0 w 1590"/>
                <a:gd name="T27" fmla="*/ 0 h 3352"/>
                <a:gd name="T28" fmla="*/ 0 w 1590"/>
                <a:gd name="T29" fmla="*/ 0 h 3352"/>
                <a:gd name="T30" fmla="*/ 0 w 1590"/>
                <a:gd name="T31" fmla="*/ 0 h 3352"/>
                <a:gd name="T32" fmla="*/ 0 w 1590"/>
                <a:gd name="T33" fmla="*/ 0 h 3352"/>
                <a:gd name="T34" fmla="*/ 0 w 1590"/>
                <a:gd name="T35" fmla="*/ 0 h 3352"/>
                <a:gd name="T36" fmla="*/ 0 w 1590"/>
                <a:gd name="T37" fmla="*/ 0 h 3352"/>
                <a:gd name="T38" fmla="*/ 0 w 1590"/>
                <a:gd name="T39" fmla="*/ 0 h 3352"/>
                <a:gd name="T40" fmla="*/ 0 w 1590"/>
                <a:gd name="T41" fmla="*/ 0 h 3352"/>
                <a:gd name="T42" fmla="*/ 0 w 1590"/>
                <a:gd name="T43" fmla="*/ 0 h 3352"/>
                <a:gd name="T44" fmla="*/ 0 w 1590"/>
                <a:gd name="T45" fmla="*/ 0 h 3352"/>
                <a:gd name="T46" fmla="*/ 0 w 1590"/>
                <a:gd name="T47" fmla="*/ 0 h 3352"/>
                <a:gd name="T48" fmla="*/ 0 w 1590"/>
                <a:gd name="T49" fmla="*/ 0 h 3352"/>
                <a:gd name="T50" fmla="*/ 0 w 1590"/>
                <a:gd name="T51" fmla="*/ 0 h 3352"/>
                <a:gd name="T52" fmla="*/ 0 w 1590"/>
                <a:gd name="T53" fmla="*/ 0 h 3352"/>
                <a:gd name="T54" fmla="*/ 0 w 1590"/>
                <a:gd name="T55" fmla="*/ 0 h 3352"/>
                <a:gd name="T56" fmla="*/ 0 w 1590"/>
                <a:gd name="T57" fmla="*/ 0 h 3352"/>
                <a:gd name="T58" fmla="*/ 0 w 1590"/>
                <a:gd name="T59" fmla="*/ 0 h 3352"/>
                <a:gd name="T60" fmla="*/ 0 w 1590"/>
                <a:gd name="T61" fmla="*/ 0 h 3352"/>
                <a:gd name="T62" fmla="*/ 0 w 1590"/>
                <a:gd name="T63" fmla="*/ 0 h 3352"/>
                <a:gd name="T64" fmla="*/ 0 w 1590"/>
                <a:gd name="T65" fmla="*/ 0 h 33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90"/>
                <a:gd name="T100" fmla="*/ 0 h 3352"/>
                <a:gd name="T101" fmla="*/ 1590 w 1590"/>
                <a:gd name="T102" fmla="*/ 3352 h 33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90" h="3352">
                  <a:moveTo>
                    <a:pt x="0" y="3352"/>
                  </a:moveTo>
                  <a:lnTo>
                    <a:pt x="1" y="3230"/>
                  </a:lnTo>
                  <a:lnTo>
                    <a:pt x="5" y="3108"/>
                  </a:lnTo>
                  <a:lnTo>
                    <a:pt x="12" y="2988"/>
                  </a:lnTo>
                  <a:lnTo>
                    <a:pt x="22" y="2867"/>
                  </a:lnTo>
                  <a:lnTo>
                    <a:pt x="35" y="2749"/>
                  </a:lnTo>
                  <a:lnTo>
                    <a:pt x="50" y="2631"/>
                  </a:lnTo>
                  <a:lnTo>
                    <a:pt x="68" y="2514"/>
                  </a:lnTo>
                  <a:lnTo>
                    <a:pt x="88" y="2398"/>
                  </a:lnTo>
                  <a:lnTo>
                    <a:pt x="111" y="2282"/>
                  </a:lnTo>
                  <a:lnTo>
                    <a:pt x="136" y="2169"/>
                  </a:lnTo>
                  <a:lnTo>
                    <a:pt x="164" y="2055"/>
                  </a:lnTo>
                  <a:lnTo>
                    <a:pt x="194" y="1944"/>
                  </a:lnTo>
                  <a:lnTo>
                    <a:pt x="227" y="1833"/>
                  </a:lnTo>
                  <a:lnTo>
                    <a:pt x="262" y="1724"/>
                  </a:lnTo>
                  <a:lnTo>
                    <a:pt x="300" y="1616"/>
                  </a:lnTo>
                  <a:lnTo>
                    <a:pt x="339" y="1507"/>
                  </a:lnTo>
                  <a:lnTo>
                    <a:pt x="382" y="1403"/>
                  </a:lnTo>
                  <a:lnTo>
                    <a:pt x="426" y="1298"/>
                  </a:lnTo>
                  <a:lnTo>
                    <a:pt x="473" y="1195"/>
                  </a:lnTo>
                  <a:lnTo>
                    <a:pt x="522" y="1094"/>
                  </a:lnTo>
                  <a:lnTo>
                    <a:pt x="572" y="993"/>
                  </a:lnTo>
                  <a:lnTo>
                    <a:pt x="626" y="895"/>
                  </a:lnTo>
                  <a:lnTo>
                    <a:pt x="681" y="798"/>
                  </a:lnTo>
                  <a:lnTo>
                    <a:pt x="738" y="703"/>
                  </a:lnTo>
                  <a:lnTo>
                    <a:pt x="798" y="610"/>
                  </a:lnTo>
                  <a:lnTo>
                    <a:pt x="859" y="517"/>
                  </a:lnTo>
                  <a:lnTo>
                    <a:pt x="922" y="427"/>
                  </a:lnTo>
                  <a:lnTo>
                    <a:pt x="987" y="338"/>
                  </a:lnTo>
                  <a:lnTo>
                    <a:pt x="1054" y="251"/>
                  </a:lnTo>
                  <a:lnTo>
                    <a:pt x="1123" y="166"/>
                  </a:lnTo>
                  <a:lnTo>
                    <a:pt x="1193" y="82"/>
                  </a:lnTo>
                  <a:lnTo>
                    <a:pt x="1266" y="0"/>
                  </a:lnTo>
                  <a:lnTo>
                    <a:pt x="1590" y="308"/>
                  </a:lnTo>
                  <a:lnTo>
                    <a:pt x="1524" y="381"/>
                  </a:lnTo>
                  <a:lnTo>
                    <a:pt x="1459" y="458"/>
                  </a:lnTo>
                  <a:lnTo>
                    <a:pt x="1398" y="534"/>
                  </a:lnTo>
                  <a:lnTo>
                    <a:pt x="1337" y="614"/>
                  </a:lnTo>
                  <a:lnTo>
                    <a:pt x="1278" y="694"/>
                  </a:lnTo>
                  <a:lnTo>
                    <a:pt x="1219" y="776"/>
                  </a:lnTo>
                  <a:lnTo>
                    <a:pt x="1164" y="861"/>
                  </a:lnTo>
                  <a:lnTo>
                    <a:pt x="1111" y="945"/>
                  </a:lnTo>
                  <a:lnTo>
                    <a:pt x="1059" y="1032"/>
                  </a:lnTo>
                  <a:lnTo>
                    <a:pt x="1009" y="1120"/>
                  </a:lnTo>
                  <a:lnTo>
                    <a:pt x="960" y="1209"/>
                  </a:lnTo>
                  <a:lnTo>
                    <a:pt x="914" y="1299"/>
                  </a:lnTo>
                  <a:lnTo>
                    <a:pt x="870" y="1392"/>
                  </a:lnTo>
                  <a:lnTo>
                    <a:pt x="828" y="1486"/>
                  </a:lnTo>
                  <a:lnTo>
                    <a:pt x="787" y="1581"/>
                  </a:lnTo>
                  <a:lnTo>
                    <a:pt x="749" y="1677"/>
                  </a:lnTo>
                  <a:lnTo>
                    <a:pt x="713" y="1773"/>
                  </a:lnTo>
                  <a:lnTo>
                    <a:pt x="679" y="1872"/>
                  </a:lnTo>
                  <a:lnTo>
                    <a:pt x="647" y="1972"/>
                  </a:lnTo>
                  <a:lnTo>
                    <a:pt x="617" y="2072"/>
                  </a:lnTo>
                  <a:lnTo>
                    <a:pt x="590" y="2174"/>
                  </a:lnTo>
                  <a:lnTo>
                    <a:pt x="565" y="2277"/>
                  </a:lnTo>
                  <a:lnTo>
                    <a:pt x="541" y="2380"/>
                  </a:lnTo>
                  <a:lnTo>
                    <a:pt x="520" y="2485"/>
                  </a:lnTo>
                  <a:lnTo>
                    <a:pt x="502" y="2590"/>
                  </a:lnTo>
                  <a:lnTo>
                    <a:pt x="486" y="2697"/>
                  </a:lnTo>
                  <a:lnTo>
                    <a:pt x="473" y="2803"/>
                  </a:lnTo>
                  <a:lnTo>
                    <a:pt x="461" y="2912"/>
                  </a:lnTo>
                  <a:lnTo>
                    <a:pt x="452" y="3020"/>
                  </a:lnTo>
                  <a:lnTo>
                    <a:pt x="446" y="3131"/>
                  </a:lnTo>
                  <a:lnTo>
                    <a:pt x="442" y="3241"/>
                  </a:lnTo>
                  <a:lnTo>
                    <a:pt x="441" y="3352"/>
                  </a:lnTo>
                  <a:lnTo>
                    <a:pt x="0" y="3352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66" name="Freeform 233"/>
            <p:cNvSpPr>
              <a:spLocks/>
            </p:cNvSpPr>
            <p:nvPr/>
          </p:nvSpPr>
          <p:spPr bwMode="auto">
            <a:xfrm>
              <a:off x="1607" y="1813"/>
              <a:ext cx="74" cy="39"/>
            </a:xfrm>
            <a:custGeom>
              <a:avLst/>
              <a:gdLst>
                <a:gd name="T0" fmla="*/ 0 w 3074"/>
                <a:gd name="T1" fmla="*/ 0 h 1704"/>
                <a:gd name="T2" fmla="*/ 0 w 3074"/>
                <a:gd name="T3" fmla="*/ 0 h 1704"/>
                <a:gd name="T4" fmla="*/ 0 w 3074"/>
                <a:gd name="T5" fmla="*/ 0 h 1704"/>
                <a:gd name="T6" fmla="*/ 0 w 3074"/>
                <a:gd name="T7" fmla="*/ 0 h 1704"/>
                <a:gd name="T8" fmla="*/ 0 w 3074"/>
                <a:gd name="T9" fmla="*/ 0 h 1704"/>
                <a:gd name="T10" fmla="*/ 0 w 3074"/>
                <a:gd name="T11" fmla="*/ 0 h 1704"/>
                <a:gd name="T12" fmla="*/ 0 w 3074"/>
                <a:gd name="T13" fmla="*/ 0 h 1704"/>
                <a:gd name="T14" fmla="*/ 0 w 3074"/>
                <a:gd name="T15" fmla="*/ 0 h 1704"/>
                <a:gd name="T16" fmla="*/ 0 w 3074"/>
                <a:gd name="T17" fmla="*/ 0 h 1704"/>
                <a:gd name="T18" fmla="*/ 0 w 3074"/>
                <a:gd name="T19" fmla="*/ 0 h 1704"/>
                <a:gd name="T20" fmla="*/ 0 w 3074"/>
                <a:gd name="T21" fmla="*/ 0 h 1704"/>
                <a:gd name="T22" fmla="*/ 0 w 3074"/>
                <a:gd name="T23" fmla="*/ 0 h 1704"/>
                <a:gd name="T24" fmla="*/ 0 w 3074"/>
                <a:gd name="T25" fmla="*/ 0 h 1704"/>
                <a:gd name="T26" fmla="*/ 0 w 3074"/>
                <a:gd name="T27" fmla="*/ 0 h 1704"/>
                <a:gd name="T28" fmla="*/ 0 w 3074"/>
                <a:gd name="T29" fmla="*/ 0 h 1704"/>
                <a:gd name="T30" fmla="*/ 0 w 3074"/>
                <a:gd name="T31" fmla="*/ 0 h 1704"/>
                <a:gd name="T32" fmla="*/ 0 w 3074"/>
                <a:gd name="T33" fmla="*/ 0 h 1704"/>
                <a:gd name="T34" fmla="*/ 0 w 3074"/>
                <a:gd name="T35" fmla="*/ 0 h 1704"/>
                <a:gd name="T36" fmla="*/ 0 w 3074"/>
                <a:gd name="T37" fmla="*/ 0 h 1704"/>
                <a:gd name="T38" fmla="*/ 0 w 3074"/>
                <a:gd name="T39" fmla="*/ 0 h 1704"/>
                <a:gd name="T40" fmla="*/ 0 w 3074"/>
                <a:gd name="T41" fmla="*/ 0 h 1704"/>
                <a:gd name="T42" fmla="*/ 0 w 3074"/>
                <a:gd name="T43" fmla="*/ 0 h 1704"/>
                <a:gd name="T44" fmla="*/ 0 w 3074"/>
                <a:gd name="T45" fmla="*/ 0 h 1704"/>
                <a:gd name="T46" fmla="*/ 0 w 3074"/>
                <a:gd name="T47" fmla="*/ 0 h 1704"/>
                <a:gd name="T48" fmla="*/ 0 w 3074"/>
                <a:gd name="T49" fmla="*/ 0 h 1704"/>
                <a:gd name="T50" fmla="*/ 0 w 3074"/>
                <a:gd name="T51" fmla="*/ 0 h 1704"/>
                <a:gd name="T52" fmla="*/ 0 w 3074"/>
                <a:gd name="T53" fmla="*/ 0 h 1704"/>
                <a:gd name="T54" fmla="*/ 0 w 3074"/>
                <a:gd name="T55" fmla="*/ 0 h 1704"/>
                <a:gd name="T56" fmla="*/ 0 w 3074"/>
                <a:gd name="T57" fmla="*/ 0 h 1704"/>
                <a:gd name="T58" fmla="*/ 0 w 3074"/>
                <a:gd name="T59" fmla="*/ 0 h 1704"/>
                <a:gd name="T60" fmla="*/ 0 w 3074"/>
                <a:gd name="T61" fmla="*/ 0 h 1704"/>
                <a:gd name="T62" fmla="*/ 0 w 3074"/>
                <a:gd name="T63" fmla="*/ 0 h 1704"/>
                <a:gd name="T64" fmla="*/ 0 w 3074"/>
                <a:gd name="T65" fmla="*/ 0 h 17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74"/>
                <a:gd name="T100" fmla="*/ 0 h 1704"/>
                <a:gd name="T101" fmla="*/ 3074 w 3074"/>
                <a:gd name="T102" fmla="*/ 1704 h 17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74" h="1704">
                  <a:moveTo>
                    <a:pt x="0" y="1396"/>
                  </a:moveTo>
                  <a:lnTo>
                    <a:pt x="74" y="1318"/>
                  </a:lnTo>
                  <a:lnTo>
                    <a:pt x="151" y="1239"/>
                  </a:lnTo>
                  <a:lnTo>
                    <a:pt x="228" y="1164"/>
                  </a:lnTo>
                  <a:lnTo>
                    <a:pt x="308" y="1089"/>
                  </a:lnTo>
                  <a:lnTo>
                    <a:pt x="390" y="1018"/>
                  </a:lnTo>
                  <a:lnTo>
                    <a:pt x="473" y="948"/>
                  </a:lnTo>
                  <a:lnTo>
                    <a:pt x="557" y="880"/>
                  </a:lnTo>
                  <a:lnTo>
                    <a:pt x="643" y="815"/>
                  </a:lnTo>
                  <a:lnTo>
                    <a:pt x="730" y="752"/>
                  </a:lnTo>
                  <a:lnTo>
                    <a:pt x="819" y="690"/>
                  </a:lnTo>
                  <a:lnTo>
                    <a:pt x="909" y="632"/>
                  </a:lnTo>
                  <a:lnTo>
                    <a:pt x="1001" y="576"/>
                  </a:lnTo>
                  <a:lnTo>
                    <a:pt x="1094" y="522"/>
                  </a:lnTo>
                  <a:lnTo>
                    <a:pt x="1189" y="471"/>
                  </a:lnTo>
                  <a:lnTo>
                    <a:pt x="1285" y="422"/>
                  </a:lnTo>
                  <a:lnTo>
                    <a:pt x="1381" y="375"/>
                  </a:lnTo>
                  <a:lnTo>
                    <a:pt x="1479" y="331"/>
                  </a:lnTo>
                  <a:lnTo>
                    <a:pt x="1579" y="290"/>
                  </a:lnTo>
                  <a:lnTo>
                    <a:pt x="1679" y="252"/>
                  </a:lnTo>
                  <a:lnTo>
                    <a:pt x="1781" y="215"/>
                  </a:lnTo>
                  <a:lnTo>
                    <a:pt x="1883" y="181"/>
                  </a:lnTo>
                  <a:lnTo>
                    <a:pt x="1987" y="151"/>
                  </a:lnTo>
                  <a:lnTo>
                    <a:pt x="2091" y="123"/>
                  </a:lnTo>
                  <a:lnTo>
                    <a:pt x="2198" y="98"/>
                  </a:lnTo>
                  <a:lnTo>
                    <a:pt x="2304" y="75"/>
                  </a:lnTo>
                  <a:lnTo>
                    <a:pt x="2411" y="55"/>
                  </a:lnTo>
                  <a:lnTo>
                    <a:pt x="2520" y="39"/>
                  </a:lnTo>
                  <a:lnTo>
                    <a:pt x="2629" y="25"/>
                  </a:lnTo>
                  <a:lnTo>
                    <a:pt x="2739" y="15"/>
                  </a:lnTo>
                  <a:lnTo>
                    <a:pt x="2851" y="7"/>
                  </a:lnTo>
                  <a:lnTo>
                    <a:pt x="2962" y="2"/>
                  </a:lnTo>
                  <a:lnTo>
                    <a:pt x="3074" y="0"/>
                  </a:lnTo>
                  <a:lnTo>
                    <a:pt x="3074" y="450"/>
                  </a:lnTo>
                  <a:lnTo>
                    <a:pt x="2973" y="452"/>
                  </a:lnTo>
                  <a:lnTo>
                    <a:pt x="2874" y="456"/>
                  </a:lnTo>
                  <a:lnTo>
                    <a:pt x="2775" y="463"/>
                  </a:lnTo>
                  <a:lnTo>
                    <a:pt x="2677" y="473"/>
                  </a:lnTo>
                  <a:lnTo>
                    <a:pt x="2579" y="485"/>
                  </a:lnTo>
                  <a:lnTo>
                    <a:pt x="2482" y="501"/>
                  </a:lnTo>
                  <a:lnTo>
                    <a:pt x="2386" y="518"/>
                  </a:lnTo>
                  <a:lnTo>
                    <a:pt x="2291" y="537"/>
                  </a:lnTo>
                  <a:lnTo>
                    <a:pt x="2197" y="561"/>
                  </a:lnTo>
                  <a:lnTo>
                    <a:pt x="2103" y="585"/>
                  </a:lnTo>
                  <a:lnTo>
                    <a:pt x="2010" y="613"/>
                  </a:lnTo>
                  <a:lnTo>
                    <a:pt x="1918" y="643"/>
                  </a:lnTo>
                  <a:lnTo>
                    <a:pt x="1827" y="676"/>
                  </a:lnTo>
                  <a:lnTo>
                    <a:pt x="1737" y="711"/>
                  </a:lnTo>
                  <a:lnTo>
                    <a:pt x="1649" y="749"/>
                  </a:lnTo>
                  <a:lnTo>
                    <a:pt x="1561" y="786"/>
                  </a:lnTo>
                  <a:lnTo>
                    <a:pt x="1474" y="829"/>
                  </a:lnTo>
                  <a:lnTo>
                    <a:pt x="1389" y="872"/>
                  </a:lnTo>
                  <a:lnTo>
                    <a:pt x="1304" y="919"/>
                  </a:lnTo>
                  <a:lnTo>
                    <a:pt x="1221" y="967"/>
                  </a:lnTo>
                  <a:lnTo>
                    <a:pt x="1139" y="1018"/>
                  </a:lnTo>
                  <a:lnTo>
                    <a:pt x="1058" y="1070"/>
                  </a:lnTo>
                  <a:lnTo>
                    <a:pt x="978" y="1125"/>
                  </a:lnTo>
                  <a:lnTo>
                    <a:pt x="900" y="1181"/>
                  </a:lnTo>
                  <a:lnTo>
                    <a:pt x="823" y="1240"/>
                  </a:lnTo>
                  <a:lnTo>
                    <a:pt x="748" y="1301"/>
                  </a:lnTo>
                  <a:lnTo>
                    <a:pt x="673" y="1364"/>
                  </a:lnTo>
                  <a:lnTo>
                    <a:pt x="601" y="1428"/>
                  </a:lnTo>
                  <a:lnTo>
                    <a:pt x="529" y="1494"/>
                  </a:lnTo>
                  <a:lnTo>
                    <a:pt x="459" y="1563"/>
                  </a:lnTo>
                  <a:lnTo>
                    <a:pt x="391" y="1632"/>
                  </a:lnTo>
                  <a:lnTo>
                    <a:pt x="324" y="1704"/>
                  </a:lnTo>
                  <a:lnTo>
                    <a:pt x="0" y="1396"/>
                  </a:lnTo>
                  <a:close/>
                </a:path>
              </a:pathLst>
            </a:cu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67" name="Rectangle 234"/>
            <p:cNvSpPr>
              <a:spLocks noChangeArrowheads="1"/>
            </p:cNvSpPr>
            <p:nvPr/>
          </p:nvSpPr>
          <p:spPr bwMode="auto">
            <a:xfrm>
              <a:off x="1681" y="1813"/>
              <a:ext cx="1" cy="10"/>
            </a:xfrm>
            <a:prstGeom prst="rect">
              <a:avLst/>
            </a:prstGeom>
            <a:noFill/>
            <a:ln w="317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800">
                <a:latin typeface="Tahoma" pitchFamily="34" charset="0"/>
              </a:endParaRPr>
            </a:p>
          </p:txBody>
        </p:sp>
        <p:sp>
          <p:nvSpPr>
            <p:cNvPr id="54368" name="Freeform 235"/>
            <p:cNvSpPr>
              <a:spLocks/>
            </p:cNvSpPr>
            <p:nvPr/>
          </p:nvSpPr>
          <p:spPr bwMode="auto">
            <a:xfrm>
              <a:off x="1637" y="1899"/>
              <a:ext cx="52" cy="56"/>
            </a:xfrm>
            <a:custGeom>
              <a:avLst/>
              <a:gdLst>
                <a:gd name="T0" fmla="*/ 0 w 2160"/>
                <a:gd name="T1" fmla="*/ 0 h 2386"/>
                <a:gd name="T2" fmla="*/ 0 w 2160"/>
                <a:gd name="T3" fmla="*/ 0 h 2386"/>
                <a:gd name="T4" fmla="*/ 0 w 2160"/>
                <a:gd name="T5" fmla="*/ 0 h 2386"/>
                <a:gd name="T6" fmla="*/ 0 w 2160"/>
                <a:gd name="T7" fmla="*/ 0 h 2386"/>
                <a:gd name="T8" fmla="*/ 0 w 2160"/>
                <a:gd name="T9" fmla="*/ 0 h 2386"/>
                <a:gd name="T10" fmla="*/ 0 w 2160"/>
                <a:gd name="T11" fmla="*/ 0 h 2386"/>
                <a:gd name="T12" fmla="*/ 0 w 2160"/>
                <a:gd name="T13" fmla="*/ 0 h 2386"/>
                <a:gd name="T14" fmla="*/ 0 w 2160"/>
                <a:gd name="T15" fmla="*/ 0 h 2386"/>
                <a:gd name="T16" fmla="*/ 0 w 2160"/>
                <a:gd name="T17" fmla="*/ 0 h 2386"/>
                <a:gd name="T18" fmla="*/ 0 w 2160"/>
                <a:gd name="T19" fmla="*/ 0 h 2386"/>
                <a:gd name="T20" fmla="*/ 0 w 2160"/>
                <a:gd name="T21" fmla="*/ 0 h 2386"/>
                <a:gd name="T22" fmla="*/ 0 w 2160"/>
                <a:gd name="T23" fmla="*/ 0 h 2386"/>
                <a:gd name="T24" fmla="*/ 0 w 2160"/>
                <a:gd name="T25" fmla="*/ 0 h 2386"/>
                <a:gd name="T26" fmla="*/ 0 w 2160"/>
                <a:gd name="T27" fmla="*/ 0 h 2386"/>
                <a:gd name="T28" fmla="*/ 0 w 2160"/>
                <a:gd name="T29" fmla="*/ 0 h 2386"/>
                <a:gd name="T30" fmla="*/ 0 w 2160"/>
                <a:gd name="T31" fmla="*/ 0 h 2386"/>
                <a:gd name="T32" fmla="*/ 0 w 2160"/>
                <a:gd name="T33" fmla="*/ 0 h 2386"/>
                <a:gd name="T34" fmla="*/ 0 w 2160"/>
                <a:gd name="T35" fmla="*/ 0 h 2386"/>
                <a:gd name="T36" fmla="*/ 0 w 2160"/>
                <a:gd name="T37" fmla="*/ 0 h 2386"/>
                <a:gd name="T38" fmla="*/ 0 w 2160"/>
                <a:gd name="T39" fmla="*/ 0 h 2386"/>
                <a:gd name="T40" fmla="*/ 0 w 2160"/>
                <a:gd name="T41" fmla="*/ 0 h 2386"/>
                <a:gd name="T42" fmla="*/ 0 w 2160"/>
                <a:gd name="T43" fmla="*/ 0 h 2386"/>
                <a:gd name="T44" fmla="*/ 0 w 2160"/>
                <a:gd name="T45" fmla="*/ 0 h 2386"/>
                <a:gd name="T46" fmla="*/ 0 w 2160"/>
                <a:gd name="T47" fmla="*/ 0 h 2386"/>
                <a:gd name="T48" fmla="*/ 0 w 2160"/>
                <a:gd name="T49" fmla="*/ 0 h 2386"/>
                <a:gd name="T50" fmla="*/ 0 w 2160"/>
                <a:gd name="T51" fmla="*/ 0 h 2386"/>
                <a:gd name="T52" fmla="*/ 0 w 2160"/>
                <a:gd name="T53" fmla="*/ 0 h 2386"/>
                <a:gd name="T54" fmla="*/ 0 w 2160"/>
                <a:gd name="T55" fmla="*/ 0 h 2386"/>
                <a:gd name="T56" fmla="*/ 0 w 2160"/>
                <a:gd name="T57" fmla="*/ 0 h 2386"/>
                <a:gd name="T58" fmla="*/ 0 w 2160"/>
                <a:gd name="T59" fmla="*/ 0 h 2386"/>
                <a:gd name="T60" fmla="*/ 0 w 2160"/>
                <a:gd name="T61" fmla="*/ 0 h 2386"/>
                <a:gd name="T62" fmla="*/ 0 w 2160"/>
                <a:gd name="T63" fmla="*/ 0 h 2386"/>
                <a:gd name="T64" fmla="*/ 0 w 2160"/>
                <a:gd name="T65" fmla="*/ 0 h 2386"/>
                <a:gd name="T66" fmla="*/ 0 w 2160"/>
                <a:gd name="T67" fmla="*/ 0 h 2386"/>
                <a:gd name="T68" fmla="*/ 0 w 2160"/>
                <a:gd name="T69" fmla="*/ 0 h 2386"/>
                <a:gd name="T70" fmla="*/ 0 w 2160"/>
                <a:gd name="T71" fmla="*/ 0 h 2386"/>
                <a:gd name="T72" fmla="*/ 0 w 2160"/>
                <a:gd name="T73" fmla="*/ 0 h 2386"/>
                <a:gd name="T74" fmla="*/ 0 w 2160"/>
                <a:gd name="T75" fmla="*/ 0 h 2386"/>
                <a:gd name="T76" fmla="*/ 0 w 2160"/>
                <a:gd name="T77" fmla="*/ 0 h 2386"/>
                <a:gd name="T78" fmla="*/ 0 w 2160"/>
                <a:gd name="T79" fmla="*/ 0 h 2386"/>
                <a:gd name="T80" fmla="*/ 0 w 2160"/>
                <a:gd name="T81" fmla="*/ 0 h 2386"/>
                <a:gd name="T82" fmla="*/ 0 w 2160"/>
                <a:gd name="T83" fmla="*/ 0 h 2386"/>
                <a:gd name="T84" fmla="*/ 0 w 2160"/>
                <a:gd name="T85" fmla="*/ 0 h 23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60"/>
                <a:gd name="T130" fmla="*/ 0 h 2386"/>
                <a:gd name="T131" fmla="*/ 2160 w 2160"/>
                <a:gd name="T132" fmla="*/ 2386 h 23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60" h="2386">
                  <a:moveTo>
                    <a:pt x="1080" y="0"/>
                  </a:moveTo>
                  <a:lnTo>
                    <a:pt x="1135" y="1"/>
                  </a:lnTo>
                  <a:lnTo>
                    <a:pt x="1190" y="6"/>
                  </a:lnTo>
                  <a:lnTo>
                    <a:pt x="1244" y="13"/>
                  </a:lnTo>
                  <a:lnTo>
                    <a:pt x="1297" y="23"/>
                  </a:lnTo>
                  <a:lnTo>
                    <a:pt x="1349" y="37"/>
                  </a:lnTo>
                  <a:lnTo>
                    <a:pt x="1401" y="53"/>
                  </a:lnTo>
                  <a:lnTo>
                    <a:pt x="1451" y="72"/>
                  </a:lnTo>
                  <a:lnTo>
                    <a:pt x="1500" y="94"/>
                  </a:lnTo>
                  <a:lnTo>
                    <a:pt x="1548" y="117"/>
                  </a:lnTo>
                  <a:lnTo>
                    <a:pt x="1594" y="144"/>
                  </a:lnTo>
                  <a:lnTo>
                    <a:pt x="1639" y="172"/>
                  </a:lnTo>
                  <a:lnTo>
                    <a:pt x="1683" y="204"/>
                  </a:lnTo>
                  <a:lnTo>
                    <a:pt x="1725" y="236"/>
                  </a:lnTo>
                  <a:lnTo>
                    <a:pt x="1766" y="272"/>
                  </a:lnTo>
                  <a:lnTo>
                    <a:pt x="1806" y="310"/>
                  </a:lnTo>
                  <a:lnTo>
                    <a:pt x="1843" y="349"/>
                  </a:lnTo>
                  <a:lnTo>
                    <a:pt x="1879" y="390"/>
                  </a:lnTo>
                  <a:lnTo>
                    <a:pt x="1913" y="433"/>
                  </a:lnTo>
                  <a:lnTo>
                    <a:pt x="1945" y="479"/>
                  </a:lnTo>
                  <a:lnTo>
                    <a:pt x="1975" y="525"/>
                  </a:lnTo>
                  <a:lnTo>
                    <a:pt x="2003" y="574"/>
                  </a:lnTo>
                  <a:lnTo>
                    <a:pt x="2029" y="624"/>
                  </a:lnTo>
                  <a:lnTo>
                    <a:pt x="2053" y="675"/>
                  </a:lnTo>
                  <a:lnTo>
                    <a:pt x="2075" y="728"/>
                  </a:lnTo>
                  <a:lnTo>
                    <a:pt x="2094" y="782"/>
                  </a:lnTo>
                  <a:lnTo>
                    <a:pt x="2111" y="838"/>
                  </a:lnTo>
                  <a:lnTo>
                    <a:pt x="2125" y="894"/>
                  </a:lnTo>
                  <a:lnTo>
                    <a:pt x="2138" y="953"/>
                  </a:lnTo>
                  <a:lnTo>
                    <a:pt x="2147" y="1011"/>
                  </a:lnTo>
                  <a:lnTo>
                    <a:pt x="2154" y="1071"/>
                  </a:lnTo>
                  <a:lnTo>
                    <a:pt x="2158" y="1131"/>
                  </a:lnTo>
                  <a:lnTo>
                    <a:pt x="2160" y="1192"/>
                  </a:lnTo>
                  <a:lnTo>
                    <a:pt x="2158" y="1254"/>
                  </a:lnTo>
                  <a:lnTo>
                    <a:pt x="2154" y="1315"/>
                  </a:lnTo>
                  <a:lnTo>
                    <a:pt x="2147" y="1374"/>
                  </a:lnTo>
                  <a:lnTo>
                    <a:pt x="2138" y="1433"/>
                  </a:lnTo>
                  <a:lnTo>
                    <a:pt x="2125" y="1491"/>
                  </a:lnTo>
                  <a:lnTo>
                    <a:pt x="2111" y="1547"/>
                  </a:lnTo>
                  <a:lnTo>
                    <a:pt x="2094" y="1603"/>
                  </a:lnTo>
                  <a:lnTo>
                    <a:pt x="2075" y="1657"/>
                  </a:lnTo>
                  <a:lnTo>
                    <a:pt x="2053" y="1710"/>
                  </a:lnTo>
                  <a:lnTo>
                    <a:pt x="2029" y="1762"/>
                  </a:lnTo>
                  <a:lnTo>
                    <a:pt x="2003" y="1812"/>
                  </a:lnTo>
                  <a:lnTo>
                    <a:pt x="1975" y="1860"/>
                  </a:lnTo>
                  <a:lnTo>
                    <a:pt x="1945" y="1907"/>
                  </a:lnTo>
                  <a:lnTo>
                    <a:pt x="1913" y="1951"/>
                  </a:lnTo>
                  <a:lnTo>
                    <a:pt x="1879" y="1995"/>
                  </a:lnTo>
                  <a:lnTo>
                    <a:pt x="1843" y="2036"/>
                  </a:lnTo>
                  <a:lnTo>
                    <a:pt x="1806" y="2076"/>
                  </a:lnTo>
                  <a:lnTo>
                    <a:pt x="1766" y="2114"/>
                  </a:lnTo>
                  <a:lnTo>
                    <a:pt x="1725" y="2149"/>
                  </a:lnTo>
                  <a:lnTo>
                    <a:pt x="1683" y="2182"/>
                  </a:lnTo>
                  <a:lnTo>
                    <a:pt x="1639" y="2214"/>
                  </a:lnTo>
                  <a:lnTo>
                    <a:pt x="1594" y="2242"/>
                  </a:lnTo>
                  <a:lnTo>
                    <a:pt x="1548" y="2269"/>
                  </a:lnTo>
                  <a:lnTo>
                    <a:pt x="1500" y="2292"/>
                  </a:lnTo>
                  <a:lnTo>
                    <a:pt x="1451" y="2314"/>
                  </a:lnTo>
                  <a:lnTo>
                    <a:pt x="1401" y="2332"/>
                  </a:lnTo>
                  <a:lnTo>
                    <a:pt x="1349" y="2348"/>
                  </a:lnTo>
                  <a:lnTo>
                    <a:pt x="1297" y="2362"/>
                  </a:lnTo>
                  <a:lnTo>
                    <a:pt x="1244" y="2373"/>
                  </a:lnTo>
                  <a:lnTo>
                    <a:pt x="1190" y="2380"/>
                  </a:lnTo>
                  <a:lnTo>
                    <a:pt x="1135" y="2384"/>
                  </a:lnTo>
                  <a:lnTo>
                    <a:pt x="1080" y="2386"/>
                  </a:lnTo>
                  <a:lnTo>
                    <a:pt x="1024" y="2384"/>
                  </a:lnTo>
                  <a:lnTo>
                    <a:pt x="969" y="2380"/>
                  </a:lnTo>
                  <a:lnTo>
                    <a:pt x="915" y="2373"/>
                  </a:lnTo>
                  <a:lnTo>
                    <a:pt x="862" y="2362"/>
                  </a:lnTo>
                  <a:lnTo>
                    <a:pt x="810" y="2348"/>
                  </a:lnTo>
                  <a:lnTo>
                    <a:pt x="758" y="2332"/>
                  </a:lnTo>
                  <a:lnTo>
                    <a:pt x="708" y="2314"/>
                  </a:lnTo>
                  <a:lnTo>
                    <a:pt x="659" y="2292"/>
                  </a:lnTo>
                  <a:lnTo>
                    <a:pt x="611" y="2269"/>
                  </a:lnTo>
                  <a:lnTo>
                    <a:pt x="565" y="2242"/>
                  </a:lnTo>
                  <a:lnTo>
                    <a:pt x="519" y="2214"/>
                  </a:lnTo>
                  <a:lnTo>
                    <a:pt x="476" y="2182"/>
                  </a:lnTo>
                  <a:lnTo>
                    <a:pt x="433" y="2149"/>
                  </a:lnTo>
                  <a:lnTo>
                    <a:pt x="392" y="2114"/>
                  </a:lnTo>
                  <a:lnTo>
                    <a:pt x="353" y="2076"/>
                  </a:lnTo>
                  <a:lnTo>
                    <a:pt x="316" y="2036"/>
                  </a:lnTo>
                  <a:lnTo>
                    <a:pt x="280" y="1995"/>
                  </a:lnTo>
                  <a:lnTo>
                    <a:pt x="246" y="1951"/>
                  </a:lnTo>
                  <a:lnTo>
                    <a:pt x="214" y="1907"/>
                  </a:lnTo>
                  <a:lnTo>
                    <a:pt x="184" y="1860"/>
                  </a:lnTo>
                  <a:lnTo>
                    <a:pt x="156" y="1812"/>
                  </a:lnTo>
                  <a:lnTo>
                    <a:pt x="130" y="1762"/>
                  </a:lnTo>
                  <a:lnTo>
                    <a:pt x="106" y="1710"/>
                  </a:lnTo>
                  <a:lnTo>
                    <a:pt x="84" y="1657"/>
                  </a:lnTo>
                  <a:lnTo>
                    <a:pt x="65" y="1603"/>
                  </a:lnTo>
                  <a:lnTo>
                    <a:pt x="48" y="1547"/>
                  </a:lnTo>
                  <a:lnTo>
                    <a:pt x="34" y="1491"/>
                  </a:lnTo>
                  <a:lnTo>
                    <a:pt x="22" y="1433"/>
                  </a:lnTo>
                  <a:lnTo>
                    <a:pt x="12" y="1374"/>
                  </a:lnTo>
                  <a:lnTo>
                    <a:pt x="5" y="1315"/>
                  </a:lnTo>
                  <a:lnTo>
                    <a:pt x="1" y="1254"/>
                  </a:lnTo>
                  <a:lnTo>
                    <a:pt x="0" y="1192"/>
                  </a:lnTo>
                  <a:lnTo>
                    <a:pt x="1" y="1131"/>
                  </a:lnTo>
                  <a:lnTo>
                    <a:pt x="5" y="1071"/>
                  </a:lnTo>
                  <a:lnTo>
                    <a:pt x="12" y="1011"/>
                  </a:lnTo>
                  <a:lnTo>
                    <a:pt x="22" y="953"/>
                  </a:lnTo>
                  <a:lnTo>
                    <a:pt x="34" y="894"/>
                  </a:lnTo>
                  <a:lnTo>
                    <a:pt x="48" y="838"/>
                  </a:lnTo>
                  <a:lnTo>
                    <a:pt x="65" y="782"/>
                  </a:lnTo>
                  <a:lnTo>
                    <a:pt x="84" y="728"/>
                  </a:lnTo>
                  <a:lnTo>
                    <a:pt x="106" y="675"/>
                  </a:lnTo>
                  <a:lnTo>
                    <a:pt x="130" y="624"/>
                  </a:lnTo>
                  <a:lnTo>
                    <a:pt x="156" y="574"/>
                  </a:lnTo>
                  <a:lnTo>
                    <a:pt x="184" y="525"/>
                  </a:lnTo>
                  <a:lnTo>
                    <a:pt x="214" y="479"/>
                  </a:lnTo>
                  <a:lnTo>
                    <a:pt x="246" y="433"/>
                  </a:lnTo>
                  <a:lnTo>
                    <a:pt x="280" y="390"/>
                  </a:lnTo>
                  <a:lnTo>
                    <a:pt x="316" y="349"/>
                  </a:lnTo>
                  <a:lnTo>
                    <a:pt x="353" y="310"/>
                  </a:lnTo>
                  <a:lnTo>
                    <a:pt x="392" y="272"/>
                  </a:lnTo>
                  <a:lnTo>
                    <a:pt x="433" y="236"/>
                  </a:lnTo>
                  <a:lnTo>
                    <a:pt x="476" y="204"/>
                  </a:lnTo>
                  <a:lnTo>
                    <a:pt x="519" y="172"/>
                  </a:lnTo>
                  <a:lnTo>
                    <a:pt x="565" y="144"/>
                  </a:lnTo>
                  <a:lnTo>
                    <a:pt x="611" y="117"/>
                  </a:lnTo>
                  <a:lnTo>
                    <a:pt x="659" y="94"/>
                  </a:lnTo>
                  <a:lnTo>
                    <a:pt x="708" y="72"/>
                  </a:lnTo>
                  <a:lnTo>
                    <a:pt x="758" y="53"/>
                  </a:lnTo>
                  <a:lnTo>
                    <a:pt x="810" y="37"/>
                  </a:lnTo>
                  <a:lnTo>
                    <a:pt x="862" y="23"/>
                  </a:lnTo>
                  <a:lnTo>
                    <a:pt x="915" y="13"/>
                  </a:lnTo>
                  <a:lnTo>
                    <a:pt x="969" y="6"/>
                  </a:lnTo>
                  <a:lnTo>
                    <a:pt x="1024" y="1"/>
                  </a:lnTo>
                  <a:lnTo>
                    <a:pt x="1080" y="0"/>
                  </a:lnTo>
                  <a:close/>
                </a:path>
              </a:pathLst>
            </a:custGeom>
            <a:solidFill>
              <a:srgbClr val="4D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69" name="Freeform 236"/>
            <p:cNvSpPr>
              <a:spLocks/>
            </p:cNvSpPr>
            <p:nvPr/>
          </p:nvSpPr>
          <p:spPr bwMode="auto">
            <a:xfrm>
              <a:off x="1462" y="1949"/>
              <a:ext cx="236" cy="116"/>
            </a:xfrm>
            <a:custGeom>
              <a:avLst/>
              <a:gdLst>
                <a:gd name="T0" fmla="*/ 0 w 9905"/>
                <a:gd name="T1" fmla="*/ 0 h 4975"/>
                <a:gd name="T2" fmla="*/ 0 w 9905"/>
                <a:gd name="T3" fmla="*/ 0 h 4975"/>
                <a:gd name="T4" fmla="*/ 0 w 9905"/>
                <a:gd name="T5" fmla="*/ 0 h 4975"/>
                <a:gd name="T6" fmla="*/ 0 w 9905"/>
                <a:gd name="T7" fmla="*/ 0 h 4975"/>
                <a:gd name="T8" fmla="*/ 0 w 9905"/>
                <a:gd name="T9" fmla="*/ 0 h 497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905"/>
                <a:gd name="T16" fmla="*/ 0 h 4975"/>
                <a:gd name="T17" fmla="*/ 9905 w 9905"/>
                <a:gd name="T18" fmla="*/ 4975 h 497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905" h="4975">
                  <a:moveTo>
                    <a:pt x="6632" y="0"/>
                  </a:moveTo>
                  <a:lnTo>
                    <a:pt x="9905" y="216"/>
                  </a:lnTo>
                  <a:lnTo>
                    <a:pt x="4941" y="4975"/>
                  </a:lnTo>
                  <a:lnTo>
                    <a:pt x="0" y="4975"/>
                  </a:lnTo>
                  <a:lnTo>
                    <a:pt x="6632" y="0"/>
                  </a:lnTo>
                  <a:close/>
                </a:path>
              </a:pathLst>
            </a:custGeom>
            <a:solidFill>
              <a:srgbClr val="DEDE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0" name="Freeform 237"/>
            <p:cNvSpPr>
              <a:spLocks/>
            </p:cNvSpPr>
            <p:nvPr/>
          </p:nvSpPr>
          <p:spPr bwMode="auto">
            <a:xfrm>
              <a:off x="1469" y="1970"/>
              <a:ext cx="212" cy="119"/>
            </a:xfrm>
            <a:custGeom>
              <a:avLst/>
              <a:gdLst>
                <a:gd name="T0" fmla="*/ 0 w 8892"/>
                <a:gd name="T1" fmla="*/ 0 h 5144"/>
                <a:gd name="T2" fmla="*/ 0 w 8892"/>
                <a:gd name="T3" fmla="*/ 0 h 5144"/>
                <a:gd name="T4" fmla="*/ 0 w 8892"/>
                <a:gd name="T5" fmla="*/ 0 h 5144"/>
                <a:gd name="T6" fmla="*/ 0 w 8892"/>
                <a:gd name="T7" fmla="*/ 0 h 5144"/>
                <a:gd name="T8" fmla="*/ 0 w 8892"/>
                <a:gd name="T9" fmla="*/ 0 h 5144"/>
                <a:gd name="T10" fmla="*/ 0 w 8892"/>
                <a:gd name="T11" fmla="*/ 0 h 5144"/>
                <a:gd name="T12" fmla="*/ 0 w 8892"/>
                <a:gd name="T13" fmla="*/ 0 h 5144"/>
                <a:gd name="T14" fmla="*/ 0 w 8892"/>
                <a:gd name="T15" fmla="*/ 0 h 5144"/>
                <a:gd name="T16" fmla="*/ 0 w 8892"/>
                <a:gd name="T17" fmla="*/ 0 h 5144"/>
                <a:gd name="T18" fmla="*/ 0 w 8892"/>
                <a:gd name="T19" fmla="*/ 0 h 5144"/>
                <a:gd name="T20" fmla="*/ 0 w 8892"/>
                <a:gd name="T21" fmla="*/ 0 h 5144"/>
                <a:gd name="T22" fmla="*/ 0 w 8892"/>
                <a:gd name="T23" fmla="*/ 0 h 5144"/>
                <a:gd name="T24" fmla="*/ 0 w 8892"/>
                <a:gd name="T25" fmla="*/ 0 h 5144"/>
                <a:gd name="T26" fmla="*/ 0 w 8892"/>
                <a:gd name="T27" fmla="*/ 0 h 5144"/>
                <a:gd name="T28" fmla="*/ 0 w 8892"/>
                <a:gd name="T29" fmla="*/ 0 h 5144"/>
                <a:gd name="T30" fmla="*/ 0 w 8892"/>
                <a:gd name="T31" fmla="*/ 0 h 5144"/>
                <a:gd name="T32" fmla="*/ 0 w 8892"/>
                <a:gd name="T33" fmla="*/ 0 h 5144"/>
                <a:gd name="T34" fmla="*/ 0 w 8892"/>
                <a:gd name="T35" fmla="*/ 0 h 5144"/>
                <a:gd name="T36" fmla="*/ 0 w 8892"/>
                <a:gd name="T37" fmla="*/ 0 h 5144"/>
                <a:gd name="T38" fmla="*/ 0 w 8892"/>
                <a:gd name="T39" fmla="*/ 0 h 5144"/>
                <a:gd name="T40" fmla="*/ 0 w 8892"/>
                <a:gd name="T41" fmla="*/ 0 h 5144"/>
                <a:gd name="T42" fmla="*/ 0 w 8892"/>
                <a:gd name="T43" fmla="*/ 0 h 5144"/>
                <a:gd name="T44" fmla="*/ 0 w 8892"/>
                <a:gd name="T45" fmla="*/ 0 h 5144"/>
                <a:gd name="T46" fmla="*/ 0 w 8892"/>
                <a:gd name="T47" fmla="*/ 0 h 5144"/>
                <a:gd name="T48" fmla="*/ 0 w 8892"/>
                <a:gd name="T49" fmla="*/ 0 h 5144"/>
                <a:gd name="T50" fmla="*/ 0 w 8892"/>
                <a:gd name="T51" fmla="*/ 0 h 5144"/>
                <a:gd name="T52" fmla="*/ 0 w 8892"/>
                <a:gd name="T53" fmla="*/ 0 h 5144"/>
                <a:gd name="T54" fmla="*/ 0 w 8892"/>
                <a:gd name="T55" fmla="*/ 0 h 5144"/>
                <a:gd name="T56" fmla="*/ 0 w 8892"/>
                <a:gd name="T57" fmla="*/ 0 h 5144"/>
                <a:gd name="T58" fmla="*/ 0 w 8892"/>
                <a:gd name="T59" fmla="*/ 0 h 5144"/>
                <a:gd name="T60" fmla="*/ 0 w 8892"/>
                <a:gd name="T61" fmla="*/ 0 h 5144"/>
                <a:gd name="T62" fmla="*/ 0 w 8892"/>
                <a:gd name="T63" fmla="*/ 0 h 5144"/>
                <a:gd name="T64" fmla="*/ 0 w 8892"/>
                <a:gd name="T65" fmla="*/ 0 h 5144"/>
                <a:gd name="T66" fmla="*/ 0 w 8892"/>
                <a:gd name="T67" fmla="*/ 0 h 5144"/>
                <a:gd name="T68" fmla="*/ 0 w 8892"/>
                <a:gd name="T69" fmla="*/ 0 h 5144"/>
                <a:gd name="T70" fmla="*/ 0 w 8892"/>
                <a:gd name="T71" fmla="*/ 0 h 5144"/>
                <a:gd name="T72" fmla="*/ 0 w 8892"/>
                <a:gd name="T73" fmla="*/ 0 h 5144"/>
                <a:gd name="T74" fmla="*/ 0 w 8892"/>
                <a:gd name="T75" fmla="*/ 0 h 5144"/>
                <a:gd name="T76" fmla="*/ 0 w 8892"/>
                <a:gd name="T77" fmla="*/ 0 h 5144"/>
                <a:gd name="T78" fmla="*/ 0 w 8892"/>
                <a:gd name="T79" fmla="*/ 0 h 5144"/>
                <a:gd name="T80" fmla="*/ 0 w 8892"/>
                <a:gd name="T81" fmla="*/ 0 h 5144"/>
                <a:gd name="T82" fmla="*/ 0 w 8892"/>
                <a:gd name="T83" fmla="*/ 0 h 5144"/>
                <a:gd name="T84" fmla="*/ 0 w 8892"/>
                <a:gd name="T85" fmla="*/ 0 h 5144"/>
                <a:gd name="T86" fmla="*/ 0 w 8892"/>
                <a:gd name="T87" fmla="*/ 0 h 5144"/>
                <a:gd name="T88" fmla="*/ 0 w 8892"/>
                <a:gd name="T89" fmla="*/ 0 h 5144"/>
                <a:gd name="T90" fmla="*/ 0 w 8892"/>
                <a:gd name="T91" fmla="*/ 0 h 5144"/>
                <a:gd name="T92" fmla="*/ 0 w 8892"/>
                <a:gd name="T93" fmla="*/ 0 h 5144"/>
                <a:gd name="T94" fmla="*/ 0 w 8892"/>
                <a:gd name="T95" fmla="*/ 0 h 5144"/>
                <a:gd name="T96" fmla="*/ 0 w 8892"/>
                <a:gd name="T97" fmla="*/ 0 h 5144"/>
                <a:gd name="T98" fmla="*/ 0 w 8892"/>
                <a:gd name="T99" fmla="*/ 0 h 5144"/>
                <a:gd name="T100" fmla="*/ 0 w 8892"/>
                <a:gd name="T101" fmla="*/ 0 h 5144"/>
                <a:gd name="T102" fmla="*/ 0 w 8892"/>
                <a:gd name="T103" fmla="*/ 0 h 5144"/>
                <a:gd name="T104" fmla="*/ 0 w 8892"/>
                <a:gd name="T105" fmla="*/ 0 h 5144"/>
                <a:gd name="T106" fmla="*/ 0 w 8892"/>
                <a:gd name="T107" fmla="*/ 0 h 5144"/>
                <a:gd name="T108" fmla="*/ 0 w 8892"/>
                <a:gd name="T109" fmla="*/ 0 h 51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892"/>
                <a:gd name="T166" fmla="*/ 0 h 5144"/>
                <a:gd name="T167" fmla="*/ 8892 w 8892"/>
                <a:gd name="T168" fmla="*/ 5144 h 51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892" h="5144">
                  <a:moveTo>
                    <a:pt x="20" y="4216"/>
                  </a:moveTo>
                  <a:lnTo>
                    <a:pt x="4618" y="4021"/>
                  </a:lnTo>
                  <a:lnTo>
                    <a:pt x="8892" y="0"/>
                  </a:lnTo>
                  <a:lnTo>
                    <a:pt x="8770" y="179"/>
                  </a:lnTo>
                  <a:lnTo>
                    <a:pt x="8664" y="333"/>
                  </a:lnTo>
                  <a:lnTo>
                    <a:pt x="8616" y="402"/>
                  </a:lnTo>
                  <a:lnTo>
                    <a:pt x="8571" y="465"/>
                  </a:lnTo>
                  <a:lnTo>
                    <a:pt x="8529" y="523"/>
                  </a:lnTo>
                  <a:lnTo>
                    <a:pt x="8490" y="576"/>
                  </a:lnTo>
                  <a:lnTo>
                    <a:pt x="8452" y="626"/>
                  </a:lnTo>
                  <a:lnTo>
                    <a:pt x="8417" y="671"/>
                  </a:lnTo>
                  <a:lnTo>
                    <a:pt x="8384" y="713"/>
                  </a:lnTo>
                  <a:lnTo>
                    <a:pt x="8353" y="752"/>
                  </a:lnTo>
                  <a:lnTo>
                    <a:pt x="8322" y="788"/>
                  </a:lnTo>
                  <a:lnTo>
                    <a:pt x="8293" y="821"/>
                  </a:lnTo>
                  <a:lnTo>
                    <a:pt x="8264" y="853"/>
                  </a:lnTo>
                  <a:lnTo>
                    <a:pt x="8237" y="882"/>
                  </a:lnTo>
                  <a:lnTo>
                    <a:pt x="8209" y="911"/>
                  </a:lnTo>
                  <a:lnTo>
                    <a:pt x="8181" y="938"/>
                  </a:lnTo>
                  <a:lnTo>
                    <a:pt x="8153" y="965"/>
                  </a:lnTo>
                  <a:lnTo>
                    <a:pt x="8125" y="991"/>
                  </a:lnTo>
                  <a:lnTo>
                    <a:pt x="8065" y="1046"/>
                  </a:lnTo>
                  <a:lnTo>
                    <a:pt x="8000" y="1102"/>
                  </a:lnTo>
                  <a:lnTo>
                    <a:pt x="7928" y="1165"/>
                  </a:lnTo>
                  <a:lnTo>
                    <a:pt x="7846" y="1236"/>
                  </a:lnTo>
                  <a:lnTo>
                    <a:pt x="7753" y="1320"/>
                  </a:lnTo>
                  <a:lnTo>
                    <a:pt x="7647" y="1418"/>
                  </a:lnTo>
                  <a:lnTo>
                    <a:pt x="7482" y="1623"/>
                  </a:lnTo>
                  <a:lnTo>
                    <a:pt x="7311" y="1835"/>
                  </a:lnTo>
                  <a:lnTo>
                    <a:pt x="7136" y="2051"/>
                  </a:lnTo>
                  <a:lnTo>
                    <a:pt x="6958" y="2269"/>
                  </a:lnTo>
                  <a:lnTo>
                    <a:pt x="6777" y="2487"/>
                  </a:lnTo>
                  <a:lnTo>
                    <a:pt x="6595" y="2706"/>
                  </a:lnTo>
                  <a:lnTo>
                    <a:pt x="6412" y="2921"/>
                  </a:lnTo>
                  <a:lnTo>
                    <a:pt x="6231" y="3132"/>
                  </a:lnTo>
                  <a:lnTo>
                    <a:pt x="6052" y="3338"/>
                  </a:lnTo>
                  <a:lnTo>
                    <a:pt x="5876" y="3537"/>
                  </a:lnTo>
                  <a:lnTo>
                    <a:pt x="5705" y="3727"/>
                  </a:lnTo>
                  <a:lnTo>
                    <a:pt x="5539" y="3906"/>
                  </a:lnTo>
                  <a:lnTo>
                    <a:pt x="5380" y="4074"/>
                  </a:lnTo>
                  <a:lnTo>
                    <a:pt x="5228" y="4228"/>
                  </a:lnTo>
                  <a:lnTo>
                    <a:pt x="5085" y="4367"/>
                  </a:lnTo>
                  <a:lnTo>
                    <a:pt x="4953" y="4488"/>
                  </a:lnTo>
                  <a:lnTo>
                    <a:pt x="4831" y="4591"/>
                  </a:lnTo>
                  <a:lnTo>
                    <a:pt x="4721" y="4674"/>
                  </a:lnTo>
                  <a:lnTo>
                    <a:pt x="4625" y="4735"/>
                  </a:lnTo>
                  <a:lnTo>
                    <a:pt x="4543" y="4773"/>
                  </a:lnTo>
                  <a:lnTo>
                    <a:pt x="4484" y="4793"/>
                  </a:lnTo>
                  <a:lnTo>
                    <a:pt x="4425" y="4812"/>
                  </a:lnTo>
                  <a:lnTo>
                    <a:pt x="4364" y="4832"/>
                  </a:lnTo>
                  <a:lnTo>
                    <a:pt x="4303" y="4850"/>
                  </a:lnTo>
                  <a:lnTo>
                    <a:pt x="4241" y="4869"/>
                  </a:lnTo>
                  <a:lnTo>
                    <a:pt x="4178" y="4887"/>
                  </a:lnTo>
                  <a:lnTo>
                    <a:pt x="4114" y="4904"/>
                  </a:lnTo>
                  <a:lnTo>
                    <a:pt x="4050" y="4922"/>
                  </a:lnTo>
                  <a:lnTo>
                    <a:pt x="3985" y="4938"/>
                  </a:lnTo>
                  <a:lnTo>
                    <a:pt x="3919" y="4954"/>
                  </a:lnTo>
                  <a:lnTo>
                    <a:pt x="3854" y="4970"/>
                  </a:lnTo>
                  <a:lnTo>
                    <a:pt x="3788" y="4985"/>
                  </a:lnTo>
                  <a:lnTo>
                    <a:pt x="3721" y="4999"/>
                  </a:lnTo>
                  <a:lnTo>
                    <a:pt x="3655" y="5013"/>
                  </a:lnTo>
                  <a:lnTo>
                    <a:pt x="3588" y="5027"/>
                  </a:lnTo>
                  <a:lnTo>
                    <a:pt x="3522" y="5039"/>
                  </a:lnTo>
                  <a:lnTo>
                    <a:pt x="3455" y="5051"/>
                  </a:lnTo>
                  <a:lnTo>
                    <a:pt x="3389" y="5062"/>
                  </a:lnTo>
                  <a:lnTo>
                    <a:pt x="3323" y="5074"/>
                  </a:lnTo>
                  <a:lnTo>
                    <a:pt x="3257" y="5084"/>
                  </a:lnTo>
                  <a:lnTo>
                    <a:pt x="3191" y="5093"/>
                  </a:lnTo>
                  <a:lnTo>
                    <a:pt x="3126" y="5101"/>
                  </a:lnTo>
                  <a:lnTo>
                    <a:pt x="3062" y="5109"/>
                  </a:lnTo>
                  <a:lnTo>
                    <a:pt x="2998" y="5116"/>
                  </a:lnTo>
                  <a:lnTo>
                    <a:pt x="2934" y="5123"/>
                  </a:lnTo>
                  <a:lnTo>
                    <a:pt x="2872" y="5129"/>
                  </a:lnTo>
                  <a:lnTo>
                    <a:pt x="2810" y="5133"/>
                  </a:lnTo>
                  <a:lnTo>
                    <a:pt x="2749" y="5137"/>
                  </a:lnTo>
                  <a:lnTo>
                    <a:pt x="2689" y="5140"/>
                  </a:lnTo>
                  <a:lnTo>
                    <a:pt x="2631" y="5143"/>
                  </a:lnTo>
                  <a:lnTo>
                    <a:pt x="2573" y="5144"/>
                  </a:lnTo>
                  <a:lnTo>
                    <a:pt x="2517" y="5144"/>
                  </a:lnTo>
                  <a:lnTo>
                    <a:pt x="2344" y="5142"/>
                  </a:lnTo>
                  <a:lnTo>
                    <a:pt x="2179" y="5136"/>
                  </a:lnTo>
                  <a:lnTo>
                    <a:pt x="2020" y="5125"/>
                  </a:lnTo>
                  <a:lnTo>
                    <a:pt x="1867" y="5110"/>
                  </a:lnTo>
                  <a:lnTo>
                    <a:pt x="1721" y="5092"/>
                  </a:lnTo>
                  <a:lnTo>
                    <a:pt x="1580" y="5071"/>
                  </a:lnTo>
                  <a:lnTo>
                    <a:pt x="1446" y="5046"/>
                  </a:lnTo>
                  <a:lnTo>
                    <a:pt x="1318" y="5019"/>
                  </a:lnTo>
                  <a:lnTo>
                    <a:pt x="1196" y="4989"/>
                  </a:lnTo>
                  <a:lnTo>
                    <a:pt x="1080" y="4957"/>
                  </a:lnTo>
                  <a:lnTo>
                    <a:pt x="970" y="4924"/>
                  </a:lnTo>
                  <a:lnTo>
                    <a:pt x="866" y="4887"/>
                  </a:lnTo>
                  <a:lnTo>
                    <a:pt x="768" y="4850"/>
                  </a:lnTo>
                  <a:lnTo>
                    <a:pt x="676" y="4811"/>
                  </a:lnTo>
                  <a:lnTo>
                    <a:pt x="590" y="4773"/>
                  </a:lnTo>
                  <a:lnTo>
                    <a:pt x="510" y="4733"/>
                  </a:lnTo>
                  <a:lnTo>
                    <a:pt x="436" y="4692"/>
                  </a:lnTo>
                  <a:lnTo>
                    <a:pt x="367" y="4651"/>
                  </a:lnTo>
                  <a:lnTo>
                    <a:pt x="305" y="4611"/>
                  </a:lnTo>
                  <a:lnTo>
                    <a:pt x="248" y="4571"/>
                  </a:lnTo>
                  <a:lnTo>
                    <a:pt x="198" y="4532"/>
                  </a:lnTo>
                  <a:lnTo>
                    <a:pt x="153" y="4493"/>
                  </a:lnTo>
                  <a:lnTo>
                    <a:pt x="114" y="4455"/>
                  </a:lnTo>
                  <a:lnTo>
                    <a:pt x="81" y="4420"/>
                  </a:lnTo>
                  <a:lnTo>
                    <a:pt x="53" y="4386"/>
                  </a:lnTo>
                  <a:lnTo>
                    <a:pt x="31" y="4353"/>
                  </a:lnTo>
                  <a:lnTo>
                    <a:pt x="15" y="4324"/>
                  </a:lnTo>
                  <a:lnTo>
                    <a:pt x="5" y="4296"/>
                  </a:lnTo>
                  <a:lnTo>
                    <a:pt x="0" y="4271"/>
                  </a:lnTo>
                  <a:lnTo>
                    <a:pt x="1" y="4249"/>
                  </a:lnTo>
                  <a:lnTo>
                    <a:pt x="7" y="4231"/>
                  </a:lnTo>
                  <a:lnTo>
                    <a:pt x="20" y="4216"/>
                  </a:lnTo>
                  <a:close/>
                </a:path>
              </a:pathLst>
            </a:custGeom>
            <a:solidFill>
              <a:srgbClr val="7270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1" name="Freeform 238"/>
            <p:cNvSpPr>
              <a:spLocks/>
            </p:cNvSpPr>
            <p:nvPr/>
          </p:nvSpPr>
          <p:spPr bwMode="auto">
            <a:xfrm>
              <a:off x="1516" y="1942"/>
              <a:ext cx="142" cy="100"/>
            </a:xfrm>
            <a:custGeom>
              <a:avLst/>
              <a:gdLst>
                <a:gd name="T0" fmla="*/ 0 w 5973"/>
                <a:gd name="T1" fmla="*/ 0 h 4312"/>
                <a:gd name="T2" fmla="*/ 0 w 5973"/>
                <a:gd name="T3" fmla="*/ 0 h 4312"/>
                <a:gd name="T4" fmla="*/ 0 w 5973"/>
                <a:gd name="T5" fmla="*/ 0 h 4312"/>
                <a:gd name="T6" fmla="*/ 0 w 5973"/>
                <a:gd name="T7" fmla="*/ 0 h 4312"/>
                <a:gd name="T8" fmla="*/ 0 w 5973"/>
                <a:gd name="T9" fmla="*/ 0 h 4312"/>
                <a:gd name="T10" fmla="*/ 0 w 5973"/>
                <a:gd name="T11" fmla="*/ 0 h 4312"/>
                <a:gd name="T12" fmla="*/ 0 w 5973"/>
                <a:gd name="T13" fmla="*/ 0 h 4312"/>
                <a:gd name="T14" fmla="*/ 0 w 5973"/>
                <a:gd name="T15" fmla="*/ 0 h 4312"/>
                <a:gd name="T16" fmla="*/ 0 w 5973"/>
                <a:gd name="T17" fmla="*/ 0 h 4312"/>
                <a:gd name="T18" fmla="*/ 0 w 5973"/>
                <a:gd name="T19" fmla="*/ 0 h 4312"/>
                <a:gd name="T20" fmla="*/ 0 w 5973"/>
                <a:gd name="T21" fmla="*/ 0 h 4312"/>
                <a:gd name="T22" fmla="*/ 0 w 5973"/>
                <a:gd name="T23" fmla="*/ 0 h 4312"/>
                <a:gd name="T24" fmla="*/ 0 w 5973"/>
                <a:gd name="T25" fmla="*/ 0 h 4312"/>
                <a:gd name="T26" fmla="*/ 0 w 5973"/>
                <a:gd name="T27" fmla="*/ 0 h 4312"/>
                <a:gd name="T28" fmla="*/ 0 w 5973"/>
                <a:gd name="T29" fmla="*/ 0 h 4312"/>
                <a:gd name="T30" fmla="*/ 0 w 5973"/>
                <a:gd name="T31" fmla="*/ 0 h 4312"/>
                <a:gd name="T32" fmla="*/ 0 w 5973"/>
                <a:gd name="T33" fmla="*/ 0 h 4312"/>
                <a:gd name="T34" fmla="*/ 0 w 5973"/>
                <a:gd name="T35" fmla="*/ 0 h 4312"/>
                <a:gd name="T36" fmla="*/ 0 w 5973"/>
                <a:gd name="T37" fmla="*/ 0 h 4312"/>
                <a:gd name="T38" fmla="*/ 0 w 5973"/>
                <a:gd name="T39" fmla="*/ 0 h 4312"/>
                <a:gd name="T40" fmla="*/ 0 w 5973"/>
                <a:gd name="T41" fmla="*/ 0 h 4312"/>
                <a:gd name="T42" fmla="*/ 0 w 5973"/>
                <a:gd name="T43" fmla="*/ 0 h 4312"/>
                <a:gd name="T44" fmla="*/ 0 w 5973"/>
                <a:gd name="T45" fmla="*/ 0 h 4312"/>
                <a:gd name="T46" fmla="*/ 0 w 5973"/>
                <a:gd name="T47" fmla="*/ 0 h 4312"/>
                <a:gd name="T48" fmla="*/ 0 w 5973"/>
                <a:gd name="T49" fmla="*/ 0 h 4312"/>
                <a:gd name="T50" fmla="*/ 0 w 5973"/>
                <a:gd name="T51" fmla="*/ 0 h 4312"/>
                <a:gd name="T52" fmla="*/ 0 w 5973"/>
                <a:gd name="T53" fmla="*/ 0 h 4312"/>
                <a:gd name="T54" fmla="*/ 0 w 5973"/>
                <a:gd name="T55" fmla="*/ 0 h 4312"/>
                <a:gd name="T56" fmla="*/ 0 w 5973"/>
                <a:gd name="T57" fmla="*/ 0 h 4312"/>
                <a:gd name="T58" fmla="*/ 0 w 5973"/>
                <a:gd name="T59" fmla="*/ 0 h 4312"/>
                <a:gd name="T60" fmla="*/ 0 w 5973"/>
                <a:gd name="T61" fmla="*/ 0 h 4312"/>
                <a:gd name="T62" fmla="*/ 0 w 5973"/>
                <a:gd name="T63" fmla="*/ 0 h 4312"/>
                <a:gd name="T64" fmla="*/ 0 w 5973"/>
                <a:gd name="T65" fmla="*/ 0 h 4312"/>
                <a:gd name="T66" fmla="*/ 0 w 5973"/>
                <a:gd name="T67" fmla="*/ 0 h 4312"/>
                <a:gd name="T68" fmla="*/ 0 w 5973"/>
                <a:gd name="T69" fmla="*/ 0 h 4312"/>
                <a:gd name="T70" fmla="*/ 0 w 5973"/>
                <a:gd name="T71" fmla="*/ 0 h 4312"/>
                <a:gd name="T72" fmla="*/ 0 w 5973"/>
                <a:gd name="T73" fmla="*/ 0 h 4312"/>
                <a:gd name="T74" fmla="*/ 0 w 5973"/>
                <a:gd name="T75" fmla="*/ 0 h 4312"/>
                <a:gd name="T76" fmla="*/ 0 w 5973"/>
                <a:gd name="T77" fmla="*/ 0 h 4312"/>
                <a:gd name="T78" fmla="*/ 0 w 5973"/>
                <a:gd name="T79" fmla="*/ 0 h 4312"/>
                <a:gd name="T80" fmla="*/ 0 w 5973"/>
                <a:gd name="T81" fmla="*/ 0 h 4312"/>
                <a:gd name="T82" fmla="*/ 0 w 5973"/>
                <a:gd name="T83" fmla="*/ 0 h 4312"/>
                <a:gd name="T84" fmla="*/ 0 w 5973"/>
                <a:gd name="T85" fmla="*/ 0 h 4312"/>
                <a:gd name="T86" fmla="*/ 0 w 5973"/>
                <a:gd name="T87" fmla="*/ 0 h 4312"/>
                <a:gd name="T88" fmla="*/ 0 w 5973"/>
                <a:gd name="T89" fmla="*/ 0 h 4312"/>
                <a:gd name="T90" fmla="*/ 0 w 5973"/>
                <a:gd name="T91" fmla="*/ 0 h 4312"/>
                <a:gd name="T92" fmla="*/ 0 w 5973"/>
                <a:gd name="T93" fmla="*/ 0 h 4312"/>
                <a:gd name="T94" fmla="*/ 0 w 5973"/>
                <a:gd name="T95" fmla="*/ 0 h 4312"/>
                <a:gd name="T96" fmla="*/ 0 w 5973"/>
                <a:gd name="T97" fmla="*/ 0 h 4312"/>
                <a:gd name="T98" fmla="*/ 0 w 5973"/>
                <a:gd name="T99" fmla="*/ 0 h 4312"/>
                <a:gd name="T100" fmla="*/ 0 w 5973"/>
                <a:gd name="T101" fmla="*/ 0 h 4312"/>
                <a:gd name="T102" fmla="*/ 0 w 5973"/>
                <a:gd name="T103" fmla="*/ 0 h 4312"/>
                <a:gd name="T104" fmla="*/ 0 w 5973"/>
                <a:gd name="T105" fmla="*/ 0 h 4312"/>
                <a:gd name="T106" fmla="*/ 0 w 5973"/>
                <a:gd name="T107" fmla="*/ 0 h 4312"/>
                <a:gd name="T108" fmla="*/ 0 w 5973"/>
                <a:gd name="T109" fmla="*/ 0 h 4312"/>
                <a:gd name="T110" fmla="*/ 0 w 5973"/>
                <a:gd name="T111" fmla="*/ 0 h 4312"/>
                <a:gd name="T112" fmla="*/ 0 w 5973"/>
                <a:gd name="T113" fmla="*/ 0 h 4312"/>
                <a:gd name="T114" fmla="*/ 0 w 5973"/>
                <a:gd name="T115" fmla="*/ 0 h 43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73"/>
                <a:gd name="T175" fmla="*/ 0 h 4312"/>
                <a:gd name="T176" fmla="*/ 5973 w 5973"/>
                <a:gd name="T177" fmla="*/ 4312 h 43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73" h="4312">
                  <a:moveTo>
                    <a:pt x="2049" y="4274"/>
                  </a:moveTo>
                  <a:lnTo>
                    <a:pt x="0" y="4312"/>
                  </a:lnTo>
                  <a:lnTo>
                    <a:pt x="10" y="4289"/>
                  </a:lnTo>
                  <a:lnTo>
                    <a:pt x="40" y="4223"/>
                  </a:lnTo>
                  <a:lnTo>
                    <a:pt x="88" y="4120"/>
                  </a:lnTo>
                  <a:lnTo>
                    <a:pt x="153" y="3982"/>
                  </a:lnTo>
                  <a:lnTo>
                    <a:pt x="192" y="3903"/>
                  </a:lnTo>
                  <a:lnTo>
                    <a:pt x="234" y="3815"/>
                  </a:lnTo>
                  <a:lnTo>
                    <a:pt x="281" y="3722"/>
                  </a:lnTo>
                  <a:lnTo>
                    <a:pt x="330" y="3624"/>
                  </a:lnTo>
                  <a:lnTo>
                    <a:pt x="383" y="3520"/>
                  </a:lnTo>
                  <a:lnTo>
                    <a:pt x="440" y="3412"/>
                  </a:lnTo>
                  <a:lnTo>
                    <a:pt x="500" y="3300"/>
                  </a:lnTo>
                  <a:lnTo>
                    <a:pt x="563" y="3183"/>
                  </a:lnTo>
                  <a:lnTo>
                    <a:pt x="628" y="3066"/>
                  </a:lnTo>
                  <a:lnTo>
                    <a:pt x="696" y="2945"/>
                  </a:lnTo>
                  <a:lnTo>
                    <a:pt x="767" y="2822"/>
                  </a:lnTo>
                  <a:lnTo>
                    <a:pt x="839" y="2699"/>
                  </a:lnTo>
                  <a:lnTo>
                    <a:pt x="914" y="2574"/>
                  </a:lnTo>
                  <a:lnTo>
                    <a:pt x="992" y="2450"/>
                  </a:lnTo>
                  <a:lnTo>
                    <a:pt x="1071" y="2326"/>
                  </a:lnTo>
                  <a:lnTo>
                    <a:pt x="1152" y="2204"/>
                  </a:lnTo>
                  <a:lnTo>
                    <a:pt x="1234" y="2083"/>
                  </a:lnTo>
                  <a:lnTo>
                    <a:pt x="1318" y="1964"/>
                  </a:lnTo>
                  <a:lnTo>
                    <a:pt x="1403" y="1848"/>
                  </a:lnTo>
                  <a:lnTo>
                    <a:pt x="1490" y="1735"/>
                  </a:lnTo>
                  <a:lnTo>
                    <a:pt x="1577" y="1627"/>
                  </a:lnTo>
                  <a:lnTo>
                    <a:pt x="1666" y="1521"/>
                  </a:lnTo>
                  <a:lnTo>
                    <a:pt x="1755" y="1422"/>
                  </a:lnTo>
                  <a:lnTo>
                    <a:pt x="1845" y="1328"/>
                  </a:lnTo>
                  <a:lnTo>
                    <a:pt x="1934" y="1238"/>
                  </a:lnTo>
                  <a:lnTo>
                    <a:pt x="2024" y="1148"/>
                  </a:lnTo>
                  <a:lnTo>
                    <a:pt x="2115" y="1060"/>
                  </a:lnTo>
                  <a:lnTo>
                    <a:pt x="2205" y="975"/>
                  </a:lnTo>
                  <a:lnTo>
                    <a:pt x="2296" y="891"/>
                  </a:lnTo>
                  <a:lnTo>
                    <a:pt x="2387" y="808"/>
                  </a:lnTo>
                  <a:lnTo>
                    <a:pt x="2479" y="730"/>
                  </a:lnTo>
                  <a:lnTo>
                    <a:pt x="2572" y="652"/>
                  </a:lnTo>
                  <a:lnTo>
                    <a:pt x="2665" y="579"/>
                  </a:lnTo>
                  <a:lnTo>
                    <a:pt x="2759" y="508"/>
                  </a:lnTo>
                  <a:lnTo>
                    <a:pt x="2854" y="441"/>
                  </a:lnTo>
                  <a:lnTo>
                    <a:pt x="2951" y="378"/>
                  </a:lnTo>
                  <a:lnTo>
                    <a:pt x="3048" y="319"/>
                  </a:lnTo>
                  <a:lnTo>
                    <a:pt x="3147" y="263"/>
                  </a:lnTo>
                  <a:lnTo>
                    <a:pt x="3248" y="213"/>
                  </a:lnTo>
                  <a:lnTo>
                    <a:pt x="3350" y="166"/>
                  </a:lnTo>
                  <a:lnTo>
                    <a:pt x="3453" y="127"/>
                  </a:lnTo>
                  <a:lnTo>
                    <a:pt x="3559" y="91"/>
                  </a:lnTo>
                  <a:lnTo>
                    <a:pt x="3666" y="60"/>
                  </a:lnTo>
                  <a:lnTo>
                    <a:pt x="3775" y="36"/>
                  </a:lnTo>
                  <a:lnTo>
                    <a:pt x="3886" y="18"/>
                  </a:lnTo>
                  <a:lnTo>
                    <a:pt x="4000" y="5"/>
                  </a:lnTo>
                  <a:lnTo>
                    <a:pt x="4115" y="0"/>
                  </a:lnTo>
                  <a:lnTo>
                    <a:pt x="4234" y="1"/>
                  </a:lnTo>
                  <a:lnTo>
                    <a:pt x="4354" y="9"/>
                  </a:lnTo>
                  <a:lnTo>
                    <a:pt x="4477" y="25"/>
                  </a:lnTo>
                  <a:lnTo>
                    <a:pt x="4603" y="47"/>
                  </a:lnTo>
                  <a:lnTo>
                    <a:pt x="4732" y="78"/>
                  </a:lnTo>
                  <a:lnTo>
                    <a:pt x="4864" y="116"/>
                  </a:lnTo>
                  <a:lnTo>
                    <a:pt x="4998" y="163"/>
                  </a:lnTo>
                  <a:lnTo>
                    <a:pt x="5136" y="219"/>
                  </a:lnTo>
                  <a:lnTo>
                    <a:pt x="5278" y="283"/>
                  </a:lnTo>
                  <a:lnTo>
                    <a:pt x="5315" y="299"/>
                  </a:lnTo>
                  <a:lnTo>
                    <a:pt x="5356" y="314"/>
                  </a:lnTo>
                  <a:lnTo>
                    <a:pt x="5400" y="328"/>
                  </a:lnTo>
                  <a:lnTo>
                    <a:pt x="5445" y="340"/>
                  </a:lnTo>
                  <a:lnTo>
                    <a:pt x="5539" y="362"/>
                  </a:lnTo>
                  <a:lnTo>
                    <a:pt x="5634" y="385"/>
                  </a:lnTo>
                  <a:lnTo>
                    <a:pt x="5680" y="397"/>
                  </a:lnTo>
                  <a:lnTo>
                    <a:pt x="5725" y="410"/>
                  </a:lnTo>
                  <a:lnTo>
                    <a:pt x="5768" y="426"/>
                  </a:lnTo>
                  <a:lnTo>
                    <a:pt x="5808" y="441"/>
                  </a:lnTo>
                  <a:lnTo>
                    <a:pt x="5845" y="460"/>
                  </a:lnTo>
                  <a:lnTo>
                    <a:pt x="5879" y="481"/>
                  </a:lnTo>
                  <a:lnTo>
                    <a:pt x="5908" y="504"/>
                  </a:lnTo>
                  <a:lnTo>
                    <a:pt x="5933" y="531"/>
                  </a:lnTo>
                  <a:lnTo>
                    <a:pt x="5952" y="561"/>
                  </a:lnTo>
                  <a:lnTo>
                    <a:pt x="5966" y="595"/>
                  </a:lnTo>
                  <a:lnTo>
                    <a:pt x="5973" y="634"/>
                  </a:lnTo>
                  <a:lnTo>
                    <a:pt x="5973" y="677"/>
                  </a:lnTo>
                  <a:lnTo>
                    <a:pt x="5966" y="725"/>
                  </a:lnTo>
                  <a:lnTo>
                    <a:pt x="5951" y="778"/>
                  </a:lnTo>
                  <a:lnTo>
                    <a:pt x="5927" y="836"/>
                  </a:lnTo>
                  <a:lnTo>
                    <a:pt x="5894" y="900"/>
                  </a:lnTo>
                  <a:lnTo>
                    <a:pt x="5852" y="971"/>
                  </a:lnTo>
                  <a:lnTo>
                    <a:pt x="5799" y="1048"/>
                  </a:lnTo>
                  <a:lnTo>
                    <a:pt x="5735" y="1133"/>
                  </a:lnTo>
                  <a:lnTo>
                    <a:pt x="5660" y="1225"/>
                  </a:lnTo>
                  <a:lnTo>
                    <a:pt x="5573" y="1323"/>
                  </a:lnTo>
                  <a:lnTo>
                    <a:pt x="5474" y="1431"/>
                  </a:lnTo>
                  <a:lnTo>
                    <a:pt x="5361" y="1547"/>
                  </a:lnTo>
                  <a:lnTo>
                    <a:pt x="5236" y="1671"/>
                  </a:lnTo>
                  <a:lnTo>
                    <a:pt x="5140" y="1762"/>
                  </a:lnTo>
                  <a:lnTo>
                    <a:pt x="5038" y="1857"/>
                  </a:lnTo>
                  <a:lnTo>
                    <a:pt x="4930" y="1956"/>
                  </a:lnTo>
                  <a:lnTo>
                    <a:pt x="4817" y="2057"/>
                  </a:lnTo>
                  <a:lnTo>
                    <a:pt x="4699" y="2160"/>
                  </a:lnTo>
                  <a:lnTo>
                    <a:pt x="4577" y="2265"/>
                  </a:lnTo>
                  <a:lnTo>
                    <a:pt x="4452" y="2372"/>
                  </a:lnTo>
                  <a:lnTo>
                    <a:pt x="4324" y="2480"/>
                  </a:lnTo>
                  <a:lnTo>
                    <a:pt x="4193" y="2589"/>
                  </a:lnTo>
                  <a:lnTo>
                    <a:pt x="4062" y="2698"/>
                  </a:lnTo>
                  <a:lnTo>
                    <a:pt x="3929" y="2806"/>
                  </a:lnTo>
                  <a:lnTo>
                    <a:pt x="3796" y="2914"/>
                  </a:lnTo>
                  <a:lnTo>
                    <a:pt x="3663" y="3021"/>
                  </a:lnTo>
                  <a:lnTo>
                    <a:pt x="3532" y="3126"/>
                  </a:lnTo>
                  <a:lnTo>
                    <a:pt x="3402" y="3229"/>
                  </a:lnTo>
                  <a:lnTo>
                    <a:pt x="3274" y="3330"/>
                  </a:lnTo>
                  <a:lnTo>
                    <a:pt x="3028" y="3523"/>
                  </a:lnTo>
                  <a:lnTo>
                    <a:pt x="2798" y="3702"/>
                  </a:lnTo>
                  <a:lnTo>
                    <a:pt x="2590" y="3863"/>
                  </a:lnTo>
                  <a:lnTo>
                    <a:pt x="2409" y="4002"/>
                  </a:lnTo>
                  <a:lnTo>
                    <a:pt x="2259" y="4116"/>
                  </a:lnTo>
                  <a:lnTo>
                    <a:pt x="2145" y="4202"/>
                  </a:lnTo>
                  <a:lnTo>
                    <a:pt x="2074" y="4256"/>
                  </a:lnTo>
                  <a:lnTo>
                    <a:pt x="2049" y="4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2" name="Freeform 239"/>
            <p:cNvSpPr>
              <a:spLocks/>
            </p:cNvSpPr>
            <p:nvPr/>
          </p:nvSpPr>
          <p:spPr bwMode="auto">
            <a:xfrm>
              <a:off x="1621" y="1908"/>
              <a:ext cx="43" cy="44"/>
            </a:xfrm>
            <a:custGeom>
              <a:avLst/>
              <a:gdLst>
                <a:gd name="T0" fmla="*/ 0 w 1802"/>
                <a:gd name="T1" fmla="*/ 0 h 1921"/>
                <a:gd name="T2" fmla="*/ 0 w 1802"/>
                <a:gd name="T3" fmla="*/ 0 h 1921"/>
                <a:gd name="T4" fmla="*/ 0 w 1802"/>
                <a:gd name="T5" fmla="*/ 0 h 1921"/>
                <a:gd name="T6" fmla="*/ 0 w 1802"/>
                <a:gd name="T7" fmla="*/ 0 h 1921"/>
                <a:gd name="T8" fmla="*/ 0 w 1802"/>
                <a:gd name="T9" fmla="*/ 0 h 1921"/>
                <a:gd name="T10" fmla="*/ 0 w 1802"/>
                <a:gd name="T11" fmla="*/ 0 h 1921"/>
                <a:gd name="T12" fmla="*/ 0 w 1802"/>
                <a:gd name="T13" fmla="*/ 0 h 1921"/>
                <a:gd name="T14" fmla="*/ 0 w 1802"/>
                <a:gd name="T15" fmla="*/ 0 h 1921"/>
                <a:gd name="T16" fmla="*/ 0 w 1802"/>
                <a:gd name="T17" fmla="*/ 0 h 1921"/>
                <a:gd name="T18" fmla="*/ 0 w 1802"/>
                <a:gd name="T19" fmla="*/ 0 h 1921"/>
                <a:gd name="T20" fmla="*/ 0 w 1802"/>
                <a:gd name="T21" fmla="*/ 0 h 1921"/>
                <a:gd name="T22" fmla="*/ 0 w 1802"/>
                <a:gd name="T23" fmla="*/ 0 h 1921"/>
                <a:gd name="T24" fmla="*/ 0 w 1802"/>
                <a:gd name="T25" fmla="*/ 0 h 1921"/>
                <a:gd name="T26" fmla="*/ 0 w 1802"/>
                <a:gd name="T27" fmla="*/ 0 h 1921"/>
                <a:gd name="T28" fmla="*/ 0 w 1802"/>
                <a:gd name="T29" fmla="*/ 0 h 1921"/>
                <a:gd name="T30" fmla="*/ 0 w 1802"/>
                <a:gd name="T31" fmla="*/ 0 h 1921"/>
                <a:gd name="T32" fmla="*/ 0 w 1802"/>
                <a:gd name="T33" fmla="*/ 0 h 1921"/>
                <a:gd name="T34" fmla="*/ 0 w 1802"/>
                <a:gd name="T35" fmla="*/ 0 h 1921"/>
                <a:gd name="T36" fmla="*/ 0 w 1802"/>
                <a:gd name="T37" fmla="*/ 0 h 1921"/>
                <a:gd name="T38" fmla="*/ 0 w 1802"/>
                <a:gd name="T39" fmla="*/ 0 h 1921"/>
                <a:gd name="T40" fmla="*/ 0 w 1802"/>
                <a:gd name="T41" fmla="*/ 0 h 1921"/>
                <a:gd name="T42" fmla="*/ 0 w 1802"/>
                <a:gd name="T43" fmla="*/ 0 h 1921"/>
                <a:gd name="T44" fmla="*/ 0 w 1802"/>
                <a:gd name="T45" fmla="*/ 0 h 1921"/>
                <a:gd name="T46" fmla="*/ 0 w 1802"/>
                <a:gd name="T47" fmla="*/ 0 h 1921"/>
                <a:gd name="T48" fmla="*/ 0 w 1802"/>
                <a:gd name="T49" fmla="*/ 0 h 1921"/>
                <a:gd name="T50" fmla="*/ 0 w 1802"/>
                <a:gd name="T51" fmla="*/ 0 h 1921"/>
                <a:gd name="T52" fmla="*/ 0 w 1802"/>
                <a:gd name="T53" fmla="*/ 0 h 1921"/>
                <a:gd name="T54" fmla="*/ 0 w 1802"/>
                <a:gd name="T55" fmla="*/ 0 h 1921"/>
                <a:gd name="T56" fmla="*/ 0 w 1802"/>
                <a:gd name="T57" fmla="*/ 0 h 1921"/>
                <a:gd name="T58" fmla="*/ 0 w 1802"/>
                <a:gd name="T59" fmla="*/ 0 h 1921"/>
                <a:gd name="T60" fmla="*/ 0 w 1802"/>
                <a:gd name="T61" fmla="*/ 0 h 1921"/>
                <a:gd name="T62" fmla="*/ 0 w 1802"/>
                <a:gd name="T63" fmla="*/ 0 h 1921"/>
                <a:gd name="T64" fmla="*/ 0 w 1802"/>
                <a:gd name="T65" fmla="*/ 0 h 1921"/>
                <a:gd name="T66" fmla="*/ 0 w 1802"/>
                <a:gd name="T67" fmla="*/ 0 h 1921"/>
                <a:gd name="T68" fmla="*/ 0 w 1802"/>
                <a:gd name="T69" fmla="*/ 0 h 1921"/>
                <a:gd name="T70" fmla="*/ 0 w 1802"/>
                <a:gd name="T71" fmla="*/ 0 h 1921"/>
                <a:gd name="T72" fmla="*/ 0 w 1802"/>
                <a:gd name="T73" fmla="*/ 0 h 1921"/>
                <a:gd name="T74" fmla="*/ 0 w 1802"/>
                <a:gd name="T75" fmla="*/ 0 h 1921"/>
                <a:gd name="T76" fmla="*/ 0 w 1802"/>
                <a:gd name="T77" fmla="*/ 0 h 1921"/>
                <a:gd name="T78" fmla="*/ 0 w 1802"/>
                <a:gd name="T79" fmla="*/ 0 h 1921"/>
                <a:gd name="T80" fmla="*/ 0 w 1802"/>
                <a:gd name="T81" fmla="*/ 0 h 1921"/>
                <a:gd name="T82" fmla="*/ 0 w 1802"/>
                <a:gd name="T83" fmla="*/ 0 h 1921"/>
                <a:gd name="T84" fmla="*/ 0 w 1802"/>
                <a:gd name="T85" fmla="*/ 0 h 192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02"/>
                <a:gd name="T130" fmla="*/ 0 h 1921"/>
                <a:gd name="T131" fmla="*/ 1802 w 1802"/>
                <a:gd name="T132" fmla="*/ 1921 h 192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02" h="1921">
                  <a:moveTo>
                    <a:pt x="901" y="0"/>
                  </a:moveTo>
                  <a:lnTo>
                    <a:pt x="947" y="1"/>
                  </a:lnTo>
                  <a:lnTo>
                    <a:pt x="993" y="5"/>
                  </a:lnTo>
                  <a:lnTo>
                    <a:pt x="1038" y="11"/>
                  </a:lnTo>
                  <a:lnTo>
                    <a:pt x="1082" y="19"/>
                  </a:lnTo>
                  <a:lnTo>
                    <a:pt x="1126" y="30"/>
                  </a:lnTo>
                  <a:lnTo>
                    <a:pt x="1168" y="43"/>
                  </a:lnTo>
                  <a:lnTo>
                    <a:pt x="1210" y="58"/>
                  </a:lnTo>
                  <a:lnTo>
                    <a:pt x="1251" y="75"/>
                  </a:lnTo>
                  <a:lnTo>
                    <a:pt x="1291" y="95"/>
                  </a:lnTo>
                  <a:lnTo>
                    <a:pt x="1330" y="116"/>
                  </a:lnTo>
                  <a:lnTo>
                    <a:pt x="1368" y="138"/>
                  </a:lnTo>
                  <a:lnTo>
                    <a:pt x="1404" y="164"/>
                  </a:lnTo>
                  <a:lnTo>
                    <a:pt x="1439" y="190"/>
                  </a:lnTo>
                  <a:lnTo>
                    <a:pt x="1474" y="219"/>
                  </a:lnTo>
                  <a:lnTo>
                    <a:pt x="1506" y="250"/>
                  </a:lnTo>
                  <a:lnTo>
                    <a:pt x="1538" y="281"/>
                  </a:lnTo>
                  <a:lnTo>
                    <a:pt x="1567" y="314"/>
                  </a:lnTo>
                  <a:lnTo>
                    <a:pt x="1596" y="350"/>
                  </a:lnTo>
                  <a:lnTo>
                    <a:pt x="1622" y="385"/>
                  </a:lnTo>
                  <a:lnTo>
                    <a:pt x="1648" y="423"/>
                  </a:lnTo>
                  <a:lnTo>
                    <a:pt x="1671" y="463"/>
                  </a:lnTo>
                  <a:lnTo>
                    <a:pt x="1693" y="503"/>
                  </a:lnTo>
                  <a:lnTo>
                    <a:pt x="1712" y="543"/>
                  </a:lnTo>
                  <a:lnTo>
                    <a:pt x="1731" y="586"/>
                  </a:lnTo>
                  <a:lnTo>
                    <a:pt x="1747" y="630"/>
                  </a:lnTo>
                  <a:lnTo>
                    <a:pt x="1761" y="675"/>
                  </a:lnTo>
                  <a:lnTo>
                    <a:pt x="1773" y="720"/>
                  </a:lnTo>
                  <a:lnTo>
                    <a:pt x="1783" y="767"/>
                  </a:lnTo>
                  <a:lnTo>
                    <a:pt x="1791" y="814"/>
                  </a:lnTo>
                  <a:lnTo>
                    <a:pt x="1797" y="862"/>
                  </a:lnTo>
                  <a:lnTo>
                    <a:pt x="1800" y="911"/>
                  </a:lnTo>
                  <a:lnTo>
                    <a:pt x="1802" y="960"/>
                  </a:lnTo>
                  <a:lnTo>
                    <a:pt x="1800" y="1010"/>
                  </a:lnTo>
                  <a:lnTo>
                    <a:pt x="1797" y="1059"/>
                  </a:lnTo>
                  <a:lnTo>
                    <a:pt x="1791" y="1107"/>
                  </a:lnTo>
                  <a:lnTo>
                    <a:pt x="1783" y="1154"/>
                  </a:lnTo>
                  <a:lnTo>
                    <a:pt x="1773" y="1201"/>
                  </a:lnTo>
                  <a:lnTo>
                    <a:pt x="1761" y="1245"/>
                  </a:lnTo>
                  <a:lnTo>
                    <a:pt x="1747" y="1290"/>
                  </a:lnTo>
                  <a:lnTo>
                    <a:pt x="1731" y="1334"/>
                  </a:lnTo>
                  <a:lnTo>
                    <a:pt x="1712" y="1377"/>
                  </a:lnTo>
                  <a:lnTo>
                    <a:pt x="1693" y="1418"/>
                  </a:lnTo>
                  <a:lnTo>
                    <a:pt x="1671" y="1459"/>
                  </a:lnTo>
                  <a:lnTo>
                    <a:pt x="1648" y="1497"/>
                  </a:lnTo>
                  <a:lnTo>
                    <a:pt x="1622" y="1535"/>
                  </a:lnTo>
                  <a:lnTo>
                    <a:pt x="1596" y="1571"/>
                  </a:lnTo>
                  <a:lnTo>
                    <a:pt x="1567" y="1606"/>
                  </a:lnTo>
                  <a:lnTo>
                    <a:pt x="1538" y="1639"/>
                  </a:lnTo>
                  <a:lnTo>
                    <a:pt x="1506" y="1671"/>
                  </a:lnTo>
                  <a:lnTo>
                    <a:pt x="1474" y="1701"/>
                  </a:lnTo>
                  <a:lnTo>
                    <a:pt x="1439" y="1730"/>
                  </a:lnTo>
                  <a:lnTo>
                    <a:pt x="1404" y="1757"/>
                  </a:lnTo>
                  <a:lnTo>
                    <a:pt x="1368" y="1782"/>
                  </a:lnTo>
                  <a:lnTo>
                    <a:pt x="1330" y="1805"/>
                  </a:lnTo>
                  <a:lnTo>
                    <a:pt x="1291" y="1826"/>
                  </a:lnTo>
                  <a:lnTo>
                    <a:pt x="1251" y="1845"/>
                  </a:lnTo>
                  <a:lnTo>
                    <a:pt x="1210" y="1863"/>
                  </a:lnTo>
                  <a:lnTo>
                    <a:pt x="1168" y="1878"/>
                  </a:lnTo>
                  <a:lnTo>
                    <a:pt x="1126" y="1890"/>
                  </a:lnTo>
                  <a:lnTo>
                    <a:pt x="1082" y="1901"/>
                  </a:lnTo>
                  <a:lnTo>
                    <a:pt x="1038" y="1910"/>
                  </a:lnTo>
                  <a:lnTo>
                    <a:pt x="993" y="1916"/>
                  </a:lnTo>
                  <a:lnTo>
                    <a:pt x="947" y="1920"/>
                  </a:lnTo>
                  <a:lnTo>
                    <a:pt x="901" y="1921"/>
                  </a:lnTo>
                  <a:lnTo>
                    <a:pt x="854" y="1920"/>
                  </a:lnTo>
                  <a:lnTo>
                    <a:pt x="809" y="1916"/>
                  </a:lnTo>
                  <a:lnTo>
                    <a:pt x="763" y="1910"/>
                  </a:lnTo>
                  <a:lnTo>
                    <a:pt x="719" y="1901"/>
                  </a:lnTo>
                  <a:lnTo>
                    <a:pt x="675" y="1890"/>
                  </a:lnTo>
                  <a:lnTo>
                    <a:pt x="633" y="1878"/>
                  </a:lnTo>
                  <a:lnTo>
                    <a:pt x="591" y="1863"/>
                  </a:lnTo>
                  <a:lnTo>
                    <a:pt x="550" y="1845"/>
                  </a:lnTo>
                  <a:lnTo>
                    <a:pt x="510" y="1826"/>
                  </a:lnTo>
                  <a:lnTo>
                    <a:pt x="471" y="1805"/>
                  </a:lnTo>
                  <a:lnTo>
                    <a:pt x="433" y="1782"/>
                  </a:lnTo>
                  <a:lnTo>
                    <a:pt x="397" y="1757"/>
                  </a:lnTo>
                  <a:lnTo>
                    <a:pt x="361" y="1730"/>
                  </a:lnTo>
                  <a:lnTo>
                    <a:pt x="327" y="1701"/>
                  </a:lnTo>
                  <a:lnTo>
                    <a:pt x="295" y="1671"/>
                  </a:lnTo>
                  <a:lnTo>
                    <a:pt x="264" y="1639"/>
                  </a:lnTo>
                  <a:lnTo>
                    <a:pt x="234" y="1606"/>
                  </a:lnTo>
                  <a:lnTo>
                    <a:pt x="205" y="1571"/>
                  </a:lnTo>
                  <a:lnTo>
                    <a:pt x="179" y="1535"/>
                  </a:lnTo>
                  <a:lnTo>
                    <a:pt x="154" y="1497"/>
                  </a:lnTo>
                  <a:lnTo>
                    <a:pt x="130" y="1459"/>
                  </a:lnTo>
                  <a:lnTo>
                    <a:pt x="108" y="1418"/>
                  </a:lnTo>
                  <a:lnTo>
                    <a:pt x="89" y="1377"/>
                  </a:lnTo>
                  <a:lnTo>
                    <a:pt x="71" y="1334"/>
                  </a:lnTo>
                  <a:lnTo>
                    <a:pt x="54" y="1290"/>
                  </a:lnTo>
                  <a:lnTo>
                    <a:pt x="40" y="1245"/>
                  </a:lnTo>
                  <a:lnTo>
                    <a:pt x="28" y="1201"/>
                  </a:lnTo>
                  <a:lnTo>
                    <a:pt x="18" y="1154"/>
                  </a:lnTo>
                  <a:lnTo>
                    <a:pt x="10" y="1107"/>
                  </a:lnTo>
                  <a:lnTo>
                    <a:pt x="4" y="1059"/>
                  </a:lnTo>
                  <a:lnTo>
                    <a:pt x="1" y="1010"/>
                  </a:lnTo>
                  <a:lnTo>
                    <a:pt x="0" y="960"/>
                  </a:lnTo>
                  <a:lnTo>
                    <a:pt x="1" y="911"/>
                  </a:lnTo>
                  <a:lnTo>
                    <a:pt x="4" y="862"/>
                  </a:lnTo>
                  <a:lnTo>
                    <a:pt x="10" y="814"/>
                  </a:lnTo>
                  <a:lnTo>
                    <a:pt x="18" y="767"/>
                  </a:lnTo>
                  <a:lnTo>
                    <a:pt x="28" y="720"/>
                  </a:lnTo>
                  <a:lnTo>
                    <a:pt x="40" y="675"/>
                  </a:lnTo>
                  <a:lnTo>
                    <a:pt x="54" y="630"/>
                  </a:lnTo>
                  <a:lnTo>
                    <a:pt x="71" y="586"/>
                  </a:lnTo>
                  <a:lnTo>
                    <a:pt x="89" y="543"/>
                  </a:lnTo>
                  <a:lnTo>
                    <a:pt x="108" y="503"/>
                  </a:lnTo>
                  <a:lnTo>
                    <a:pt x="130" y="463"/>
                  </a:lnTo>
                  <a:lnTo>
                    <a:pt x="154" y="423"/>
                  </a:lnTo>
                  <a:lnTo>
                    <a:pt x="179" y="385"/>
                  </a:lnTo>
                  <a:lnTo>
                    <a:pt x="205" y="350"/>
                  </a:lnTo>
                  <a:lnTo>
                    <a:pt x="234" y="314"/>
                  </a:lnTo>
                  <a:lnTo>
                    <a:pt x="264" y="281"/>
                  </a:lnTo>
                  <a:lnTo>
                    <a:pt x="295" y="250"/>
                  </a:lnTo>
                  <a:lnTo>
                    <a:pt x="327" y="219"/>
                  </a:lnTo>
                  <a:lnTo>
                    <a:pt x="361" y="190"/>
                  </a:lnTo>
                  <a:lnTo>
                    <a:pt x="397" y="164"/>
                  </a:lnTo>
                  <a:lnTo>
                    <a:pt x="433" y="138"/>
                  </a:lnTo>
                  <a:lnTo>
                    <a:pt x="471" y="116"/>
                  </a:lnTo>
                  <a:lnTo>
                    <a:pt x="510" y="95"/>
                  </a:lnTo>
                  <a:lnTo>
                    <a:pt x="550" y="75"/>
                  </a:lnTo>
                  <a:lnTo>
                    <a:pt x="591" y="58"/>
                  </a:lnTo>
                  <a:lnTo>
                    <a:pt x="633" y="43"/>
                  </a:lnTo>
                  <a:lnTo>
                    <a:pt x="675" y="30"/>
                  </a:lnTo>
                  <a:lnTo>
                    <a:pt x="719" y="19"/>
                  </a:lnTo>
                  <a:lnTo>
                    <a:pt x="763" y="11"/>
                  </a:lnTo>
                  <a:lnTo>
                    <a:pt x="809" y="5"/>
                  </a:lnTo>
                  <a:lnTo>
                    <a:pt x="854" y="1"/>
                  </a:lnTo>
                  <a:lnTo>
                    <a:pt x="9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3" name="Freeform 240"/>
            <p:cNvSpPr>
              <a:spLocks/>
            </p:cNvSpPr>
            <p:nvPr/>
          </p:nvSpPr>
          <p:spPr bwMode="auto">
            <a:xfrm>
              <a:off x="1596" y="1949"/>
              <a:ext cx="63" cy="62"/>
            </a:xfrm>
            <a:custGeom>
              <a:avLst/>
              <a:gdLst>
                <a:gd name="T0" fmla="*/ 0 w 2629"/>
                <a:gd name="T1" fmla="*/ 0 h 2691"/>
                <a:gd name="T2" fmla="*/ 0 w 2629"/>
                <a:gd name="T3" fmla="*/ 0 h 2691"/>
                <a:gd name="T4" fmla="*/ 0 w 2629"/>
                <a:gd name="T5" fmla="*/ 0 h 2691"/>
                <a:gd name="T6" fmla="*/ 0 w 2629"/>
                <a:gd name="T7" fmla="*/ 0 h 2691"/>
                <a:gd name="T8" fmla="*/ 0 w 2629"/>
                <a:gd name="T9" fmla="*/ 0 h 2691"/>
                <a:gd name="T10" fmla="*/ 0 w 2629"/>
                <a:gd name="T11" fmla="*/ 0 h 2691"/>
                <a:gd name="T12" fmla="*/ 0 w 2629"/>
                <a:gd name="T13" fmla="*/ 0 h 2691"/>
                <a:gd name="T14" fmla="*/ 0 w 2629"/>
                <a:gd name="T15" fmla="*/ 0 h 2691"/>
                <a:gd name="T16" fmla="*/ 0 w 2629"/>
                <a:gd name="T17" fmla="*/ 0 h 2691"/>
                <a:gd name="T18" fmla="*/ 0 w 2629"/>
                <a:gd name="T19" fmla="*/ 0 h 2691"/>
                <a:gd name="T20" fmla="*/ 0 w 2629"/>
                <a:gd name="T21" fmla="*/ 0 h 2691"/>
                <a:gd name="T22" fmla="*/ 0 w 2629"/>
                <a:gd name="T23" fmla="*/ 0 h 2691"/>
                <a:gd name="T24" fmla="*/ 0 w 2629"/>
                <a:gd name="T25" fmla="*/ 0 h 2691"/>
                <a:gd name="T26" fmla="*/ 0 w 2629"/>
                <a:gd name="T27" fmla="*/ 0 h 2691"/>
                <a:gd name="T28" fmla="*/ 0 w 2629"/>
                <a:gd name="T29" fmla="*/ 0 h 2691"/>
                <a:gd name="T30" fmla="*/ 0 w 2629"/>
                <a:gd name="T31" fmla="*/ 0 h 2691"/>
                <a:gd name="T32" fmla="*/ 0 w 2629"/>
                <a:gd name="T33" fmla="*/ 0 h 2691"/>
                <a:gd name="T34" fmla="*/ 0 w 2629"/>
                <a:gd name="T35" fmla="*/ 0 h 2691"/>
                <a:gd name="T36" fmla="*/ 0 w 2629"/>
                <a:gd name="T37" fmla="*/ 0 h 2691"/>
                <a:gd name="T38" fmla="*/ 0 w 2629"/>
                <a:gd name="T39" fmla="*/ 0 h 2691"/>
                <a:gd name="T40" fmla="*/ 0 w 2629"/>
                <a:gd name="T41" fmla="*/ 0 h 2691"/>
                <a:gd name="T42" fmla="*/ 0 w 2629"/>
                <a:gd name="T43" fmla="*/ 0 h 2691"/>
                <a:gd name="T44" fmla="*/ 0 w 2629"/>
                <a:gd name="T45" fmla="*/ 0 h 2691"/>
                <a:gd name="T46" fmla="*/ 0 w 2629"/>
                <a:gd name="T47" fmla="*/ 0 h 2691"/>
                <a:gd name="T48" fmla="*/ 0 w 2629"/>
                <a:gd name="T49" fmla="*/ 0 h 2691"/>
                <a:gd name="T50" fmla="*/ 0 w 2629"/>
                <a:gd name="T51" fmla="*/ 0 h 2691"/>
                <a:gd name="T52" fmla="*/ 0 w 2629"/>
                <a:gd name="T53" fmla="*/ 0 h 2691"/>
                <a:gd name="T54" fmla="*/ 0 w 2629"/>
                <a:gd name="T55" fmla="*/ 0 h 2691"/>
                <a:gd name="T56" fmla="*/ 0 w 2629"/>
                <a:gd name="T57" fmla="*/ 0 h 2691"/>
                <a:gd name="T58" fmla="*/ 0 w 2629"/>
                <a:gd name="T59" fmla="*/ 0 h 2691"/>
                <a:gd name="T60" fmla="*/ 0 w 2629"/>
                <a:gd name="T61" fmla="*/ 0 h 2691"/>
                <a:gd name="T62" fmla="*/ 0 w 2629"/>
                <a:gd name="T63" fmla="*/ 0 h 2691"/>
                <a:gd name="T64" fmla="*/ 0 w 2629"/>
                <a:gd name="T65" fmla="*/ 0 h 2691"/>
                <a:gd name="T66" fmla="*/ 0 w 2629"/>
                <a:gd name="T67" fmla="*/ 0 h 2691"/>
                <a:gd name="T68" fmla="*/ 0 w 2629"/>
                <a:gd name="T69" fmla="*/ 0 h 2691"/>
                <a:gd name="T70" fmla="*/ 0 w 2629"/>
                <a:gd name="T71" fmla="*/ 0 h 2691"/>
                <a:gd name="T72" fmla="*/ 0 w 2629"/>
                <a:gd name="T73" fmla="*/ 0 h 2691"/>
                <a:gd name="T74" fmla="*/ 0 w 2629"/>
                <a:gd name="T75" fmla="*/ 0 h 2691"/>
                <a:gd name="T76" fmla="*/ 0 w 2629"/>
                <a:gd name="T77" fmla="*/ 0 h 2691"/>
                <a:gd name="T78" fmla="*/ 0 w 2629"/>
                <a:gd name="T79" fmla="*/ 0 h 2691"/>
                <a:gd name="T80" fmla="*/ 0 w 2629"/>
                <a:gd name="T81" fmla="*/ 0 h 2691"/>
                <a:gd name="T82" fmla="*/ 0 w 2629"/>
                <a:gd name="T83" fmla="*/ 0 h 2691"/>
                <a:gd name="T84" fmla="*/ 0 w 2629"/>
                <a:gd name="T85" fmla="*/ 0 h 2691"/>
                <a:gd name="T86" fmla="*/ 0 w 2629"/>
                <a:gd name="T87" fmla="*/ 0 h 2691"/>
                <a:gd name="T88" fmla="*/ 0 w 2629"/>
                <a:gd name="T89" fmla="*/ 0 h 2691"/>
                <a:gd name="T90" fmla="*/ 0 w 2629"/>
                <a:gd name="T91" fmla="*/ 0 h 2691"/>
                <a:gd name="T92" fmla="*/ 0 w 2629"/>
                <a:gd name="T93" fmla="*/ 0 h 2691"/>
                <a:gd name="T94" fmla="*/ 0 w 2629"/>
                <a:gd name="T95" fmla="*/ 0 h 2691"/>
                <a:gd name="T96" fmla="*/ 0 w 2629"/>
                <a:gd name="T97" fmla="*/ 0 h 2691"/>
                <a:gd name="T98" fmla="*/ 0 w 2629"/>
                <a:gd name="T99" fmla="*/ 0 h 2691"/>
                <a:gd name="T100" fmla="*/ 0 w 2629"/>
                <a:gd name="T101" fmla="*/ 0 h 2691"/>
                <a:gd name="T102" fmla="*/ 0 w 2629"/>
                <a:gd name="T103" fmla="*/ 0 h 2691"/>
                <a:gd name="T104" fmla="*/ 0 w 2629"/>
                <a:gd name="T105" fmla="*/ 0 h 2691"/>
                <a:gd name="T106" fmla="*/ 0 w 2629"/>
                <a:gd name="T107" fmla="*/ 0 h 2691"/>
                <a:gd name="T108" fmla="*/ 0 w 2629"/>
                <a:gd name="T109" fmla="*/ 0 h 2691"/>
                <a:gd name="T110" fmla="*/ 0 w 2629"/>
                <a:gd name="T111" fmla="*/ 0 h 2691"/>
                <a:gd name="T112" fmla="*/ 0 w 2629"/>
                <a:gd name="T113" fmla="*/ 0 h 2691"/>
                <a:gd name="T114" fmla="*/ 0 w 2629"/>
                <a:gd name="T115" fmla="*/ 0 h 269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629"/>
                <a:gd name="T175" fmla="*/ 0 h 2691"/>
                <a:gd name="T176" fmla="*/ 2629 w 2629"/>
                <a:gd name="T177" fmla="*/ 2691 h 269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629" h="2691">
                  <a:moveTo>
                    <a:pt x="79" y="1862"/>
                  </a:moveTo>
                  <a:lnTo>
                    <a:pt x="47" y="1887"/>
                  </a:lnTo>
                  <a:lnTo>
                    <a:pt x="24" y="1909"/>
                  </a:lnTo>
                  <a:lnTo>
                    <a:pt x="9" y="1927"/>
                  </a:lnTo>
                  <a:lnTo>
                    <a:pt x="1" y="1941"/>
                  </a:lnTo>
                  <a:lnTo>
                    <a:pt x="0" y="1955"/>
                  </a:lnTo>
                  <a:lnTo>
                    <a:pt x="6" y="1964"/>
                  </a:lnTo>
                  <a:lnTo>
                    <a:pt x="17" y="1972"/>
                  </a:lnTo>
                  <a:lnTo>
                    <a:pt x="33" y="1979"/>
                  </a:lnTo>
                  <a:lnTo>
                    <a:pt x="53" y="1984"/>
                  </a:lnTo>
                  <a:lnTo>
                    <a:pt x="78" y="1989"/>
                  </a:lnTo>
                  <a:lnTo>
                    <a:pt x="105" y="1993"/>
                  </a:lnTo>
                  <a:lnTo>
                    <a:pt x="135" y="1997"/>
                  </a:lnTo>
                  <a:lnTo>
                    <a:pt x="167" y="2003"/>
                  </a:lnTo>
                  <a:lnTo>
                    <a:pt x="201" y="2008"/>
                  </a:lnTo>
                  <a:lnTo>
                    <a:pt x="235" y="2015"/>
                  </a:lnTo>
                  <a:lnTo>
                    <a:pt x="270" y="2023"/>
                  </a:lnTo>
                  <a:lnTo>
                    <a:pt x="304" y="2033"/>
                  </a:lnTo>
                  <a:lnTo>
                    <a:pt x="336" y="2046"/>
                  </a:lnTo>
                  <a:lnTo>
                    <a:pt x="368" y="2062"/>
                  </a:lnTo>
                  <a:lnTo>
                    <a:pt x="397" y="2080"/>
                  </a:lnTo>
                  <a:lnTo>
                    <a:pt x="423" y="2103"/>
                  </a:lnTo>
                  <a:lnTo>
                    <a:pt x="445" y="2129"/>
                  </a:lnTo>
                  <a:lnTo>
                    <a:pt x="464" y="2160"/>
                  </a:lnTo>
                  <a:lnTo>
                    <a:pt x="477" y="2194"/>
                  </a:lnTo>
                  <a:lnTo>
                    <a:pt x="486" y="2234"/>
                  </a:lnTo>
                  <a:lnTo>
                    <a:pt x="488" y="2280"/>
                  </a:lnTo>
                  <a:lnTo>
                    <a:pt x="484" y="2332"/>
                  </a:lnTo>
                  <a:lnTo>
                    <a:pt x="473" y="2389"/>
                  </a:lnTo>
                  <a:lnTo>
                    <a:pt x="454" y="2455"/>
                  </a:lnTo>
                  <a:lnTo>
                    <a:pt x="427" y="2526"/>
                  </a:lnTo>
                  <a:lnTo>
                    <a:pt x="391" y="2605"/>
                  </a:lnTo>
                  <a:lnTo>
                    <a:pt x="345" y="2691"/>
                  </a:lnTo>
                  <a:lnTo>
                    <a:pt x="372" y="2673"/>
                  </a:lnTo>
                  <a:lnTo>
                    <a:pt x="446" y="2619"/>
                  </a:lnTo>
                  <a:lnTo>
                    <a:pt x="562" y="2535"/>
                  </a:lnTo>
                  <a:lnTo>
                    <a:pt x="713" y="2425"/>
                  </a:lnTo>
                  <a:lnTo>
                    <a:pt x="798" y="2361"/>
                  </a:lnTo>
                  <a:lnTo>
                    <a:pt x="890" y="2292"/>
                  </a:lnTo>
                  <a:lnTo>
                    <a:pt x="987" y="2219"/>
                  </a:lnTo>
                  <a:lnTo>
                    <a:pt x="1088" y="2141"/>
                  </a:lnTo>
                  <a:lnTo>
                    <a:pt x="1192" y="2061"/>
                  </a:lnTo>
                  <a:lnTo>
                    <a:pt x="1298" y="1977"/>
                  </a:lnTo>
                  <a:lnTo>
                    <a:pt x="1407" y="1891"/>
                  </a:lnTo>
                  <a:lnTo>
                    <a:pt x="1515" y="1803"/>
                  </a:lnTo>
                  <a:lnTo>
                    <a:pt x="1624" y="1714"/>
                  </a:lnTo>
                  <a:lnTo>
                    <a:pt x="1731" y="1623"/>
                  </a:lnTo>
                  <a:lnTo>
                    <a:pt x="1837" y="1532"/>
                  </a:lnTo>
                  <a:lnTo>
                    <a:pt x="1940" y="1442"/>
                  </a:lnTo>
                  <a:lnTo>
                    <a:pt x="2038" y="1353"/>
                  </a:lnTo>
                  <a:lnTo>
                    <a:pt x="2133" y="1264"/>
                  </a:lnTo>
                  <a:lnTo>
                    <a:pt x="2221" y="1177"/>
                  </a:lnTo>
                  <a:lnTo>
                    <a:pt x="2304" y="1092"/>
                  </a:lnTo>
                  <a:lnTo>
                    <a:pt x="2379" y="1011"/>
                  </a:lnTo>
                  <a:lnTo>
                    <a:pt x="2446" y="932"/>
                  </a:lnTo>
                  <a:lnTo>
                    <a:pt x="2504" y="857"/>
                  </a:lnTo>
                  <a:lnTo>
                    <a:pt x="2553" y="786"/>
                  </a:lnTo>
                  <a:lnTo>
                    <a:pt x="2590" y="721"/>
                  </a:lnTo>
                  <a:lnTo>
                    <a:pt x="2616" y="661"/>
                  </a:lnTo>
                  <a:lnTo>
                    <a:pt x="2629" y="607"/>
                  </a:lnTo>
                  <a:lnTo>
                    <a:pt x="2629" y="559"/>
                  </a:lnTo>
                  <a:lnTo>
                    <a:pt x="2621" y="515"/>
                  </a:lnTo>
                  <a:lnTo>
                    <a:pt x="2613" y="473"/>
                  </a:lnTo>
                  <a:lnTo>
                    <a:pt x="2604" y="431"/>
                  </a:lnTo>
                  <a:lnTo>
                    <a:pt x="2594" y="393"/>
                  </a:lnTo>
                  <a:lnTo>
                    <a:pt x="2583" y="355"/>
                  </a:lnTo>
                  <a:lnTo>
                    <a:pt x="2571" y="318"/>
                  </a:lnTo>
                  <a:lnTo>
                    <a:pt x="2558" y="283"/>
                  </a:lnTo>
                  <a:lnTo>
                    <a:pt x="2545" y="250"/>
                  </a:lnTo>
                  <a:lnTo>
                    <a:pt x="2530" y="219"/>
                  </a:lnTo>
                  <a:lnTo>
                    <a:pt x="2515" y="190"/>
                  </a:lnTo>
                  <a:lnTo>
                    <a:pt x="2498" y="162"/>
                  </a:lnTo>
                  <a:lnTo>
                    <a:pt x="2481" y="135"/>
                  </a:lnTo>
                  <a:lnTo>
                    <a:pt x="2463" y="112"/>
                  </a:lnTo>
                  <a:lnTo>
                    <a:pt x="2445" y="91"/>
                  </a:lnTo>
                  <a:lnTo>
                    <a:pt x="2425" y="71"/>
                  </a:lnTo>
                  <a:lnTo>
                    <a:pt x="2404" y="54"/>
                  </a:lnTo>
                  <a:lnTo>
                    <a:pt x="2382" y="40"/>
                  </a:lnTo>
                  <a:lnTo>
                    <a:pt x="2360" y="26"/>
                  </a:lnTo>
                  <a:lnTo>
                    <a:pt x="2336" y="16"/>
                  </a:lnTo>
                  <a:lnTo>
                    <a:pt x="2312" y="8"/>
                  </a:lnTo>
                  <a:lnTo>
                    <a:pt x="2286" y="3"/>
                  </a:lnTo>
                  <a:lnTo>
                    <a:pt x="2260" y="0"/>
                  </a:lnTo>
                  <a:lnTo>
                    <a:pt x="2233" y="0"/>
                  </a:lnTo>
                  <a:lnTo>
                    <a:pt x="2204" y="2"/>
                  </a:lnTo>
                  <a:lnTo>
                    <a:pt x="2175" y="7"/>
                  </a:lnTo>
                  <a:lnTo>
                    <a:pt x="2145" y="15"/>
                  </a:lnTo>
                  <a:lnTo>
                    <a:pt x="2114" y="26"/>
                  </a:lnTo>
                  <a:lnTo>
                    <a:pt x="2082" y="40"/>
                  </a:lnTo>
                  <a:lnTo>
                    <a:pt x="2049" y="56"/>
                  </a:lnTo>
                  <a:lnTo>
                    <a:pt x="2015" y="75"/>
                  </a:lnTo>
                  <a:lnTo>
                    <a:pt x="1980" y="99"/>
                  </a:lnTo>
                  <a:lnTo>
                    <a:pt x="1944" y="124"/>
                  </a:lnTo>
                  <a:lnTo>
                    <a:pt x="1889" y="166"/>
                  </a:lnTo>
                  <a:lnTo>
                    <a:pt x="1834" y="211"/>
                  </a:lnTo>
                  <a:lnTo>
                    <a:pt x="1777" y="258"/>
                  </a:lnTo>
                  <a:lnTo>
                    <a:pt x="1721" y="306"/>
                  </a:lnTo>
                  <a:lnTo>
                    <a:pt x="1664" y="357"/>
                  </a:lnTo>
                  <a:lnTo>
                    <a:pt x="1606" y="409"/>
                  </a:lnTo>
                  <a:lnTo>
                    <a:pt x="1548" y="463"/>
                  </a:lnTo>
                  <a:lnTo>
                    <a:pt x="1489" y="518"/>
                  </a:lnTo>
                  <a:lnTo>
                    <a:pt x="1371" y="632"/>
                  </a:lnTo>
                  <a:lnTo>
                    <a:pt x="1252" y="750"/>
                  </a:lnTo>
                  <a:lnTo>
                    <a:pt x="1132" y="870"/>
                  </a:lnTo>
                  <a:lnTo>
                    <a:pt x="1012" y="991"/>
                  </a:lnTo>
                  <a:lnTo>
                    <a:pt x="892" y="1114"/>
                  </a:lnTo>
                  <a:lnTo>
                    <a:pt x="772" y="1234"/>
                  </a:lnTo>
                  <a:lnTo>
                    <a:pt x="653" y="1352"/>
                  </a:lnTo>
                  <a:lnTo>
                    <a:pt x="535" y="1466"/>
                  </a:lnTo>
                  <a:lnTo>
                    <a:pt x="476" y="1521"/>
                  </a:lnTo>
                  <a:lnTo>
                    <a:pt x="418" y="1575"/>
                  </a:lnTo>
                  <a:lnTo>
                    <a:pt x="360" y="1628"/>
                  </a:lnTo>
                  <a:lnTo>
                    <a:pt x="302" y="1679"/>
                  </a:lnTo>
                  <a:lnTo>
                    <a:pt x="245" y="1728"/>
                  </a:lnTo>
                  <a:lnTo>
                    <a:pt x="189" y="1775"/>
                  </a:lnTo>
                  <a:lnTo>
                    <a:pt x="134" y="1820"/>
                  </a:lnTo>
                  <a:lnTo>
                    <a:pt x="79" y="18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4" name="Freeform 241"/>
            <p:cNvSpPr>
              <a:spLocks/>
            </p:cNvSpPr>
            <p:nvPr/>
          </p:nvSpPr>
          <p:spPr bwMode="auto">
            <a:xfrm>
              <a:off x="1462" y="1946"/>
              <a:ext cx="237" cy="122"/>
            </a:xfrm>
            <a:custGeom>
              <a:avLst/>
              <a:gdLst>
                <a:gd name="T0" fmla="*/ 0 w 9927"/>
                <a:gd name="T1" fmla="*/ 0 h 5284"/>
                <a:gd name="T2" fmla="*/ 0 w 9927"/>
                <a:gd name="T3" fmla="*/ 0 h 5284"/>
                <a:gd name="T4" fmla="*/ 0 w 9927"/>
                <a:gd name="T5" fmla="*/ 0 h 5284"/>
                <a:gd name="T6" fmla="*/ 0 w 9927"/>
                <a:gd name="T7" fmla="*/ 0 h 5284"/>
                <a:gd name="T8" fmla="*/ 0 w 9927"/>
                <a:gd name="T9" fmla="*/ 0 h 5284"/>
                <a:gd name="T10" fmla="*/ 0 w 9927"/>
                <a:gd name="T11" fmla="*/ 0 h 5284"/>
                <a:gd name="T12" fmla="*/ 0 w 9927"/>
                <a:gd name="T13" fmla="*/ 0 h 5284"/>
                <a:gd name="T14" fmla="*/ 0 w 9927"/>
                <a:gd name="T15" fmla="*/ 0 h 5284"/>
                <a:gd name="T16" fmla="*/ 0 w 9927"/>
                <a:gd name="T17" fmla="*/ 0 h 5284"/>
                <a:gd name="T18" fmla="*/ 0 w 9927"/>
                <a:gd name="T19" fmla="*/ 0 h 5284"/>
                <a:gd name="T20" fmla="*/ 0 w 9927"/>
                <a:gd name="T21" fmla="*/ 0 h 5284"/>
                <a:gd name="T22" fmla="*/ 0 w 9927"/>
                <a:gd name="T23" fmla="*/ 0 h 5284"/>
                <a:gd name="T24" fmla="*/ 0 w 9927"/>
                <a:gd name="T25" fmla="*/ 0 h 5284"/>
                <a:gd name="T26" fmla="*/ 0 w 9927"/>
                <a:gd name="T27" fmla="*/ 0 h 5284"/>
                <a:gd name="T28" fmla="*/ 0 w 9927"/>
                <a:gd name="T29" fmla="*/ 0 h 5284"/>
                <a:gd name="T30" fmla="*/ 0 w 9927"/>
                <a:gd name="T31" fmla="*/ 0 h 5284"/>
                <a:gd name="T32" fmla="*/ 0 w 9927"/>
                <a:gd name="T33" fmla="*/ 0 h 5284"/>
                <a:gd name="T34" fmla="*/ 0 w 9927"/>
                <a:gd name="T35" fmla="*/ 0 h 5284"/>
                <a:gd name="T36" fmla="*/ 0 w 9927"/>
                <a:gd name="T37" fmla="*/ 0 h 5284"/>
                <a:gd name="T38" fmla="*/ 0 w 9927"/>
                <a:gd name="T39" fmla="*/ 0 h 5284"/>
                <a:gd name="T40" fmla="*/ 0 w 9927"/>
                <a:gd name="T41" fmla="*/ 0 h 5284"/>
                <a:gd name="T42" fmla="*/ 0 w 9927"/>
                <a:gd name="T43" fmla="*/ 0 h 5284"/>
                <a:gd name="T44" fmla="*/ 0 w 9927"/>
                <a:gd name="T45" fmla="*/ 0 h 5284"/>
                <a:gd name="T46" fmla="*/ 0 w 9927"/>
                <a:gd name="T47" fmla="*/ 0 h 5284"/>
                <a:gd name="T48" fmla="*/ 0 w 9927"/>
                <a:gd name="T49" fmla="*/ 0 h 5284"/>
                <a:gd name="T50" fmla="*/ 0 w 9927"/>
                <a:gd name="T51" fmla="*/ 0 h 5284"/>
                <a:gd name="T52" fmla="*/ 0 w 9927"/>
                <a:gd name="T53" fmla="*/ 0 h 5284"/>
                <a:gd name="T54" fmla="*/ 0 w 9927"/>
                <a:gd name="T55" fmla="*/ 0 h 5284"/>
                <a:gd name="T56" fmla="*/ 0 w 9927"/>
                <a:gd name="T57" fmla="*/ 0 h 5284"/>
                <a:gd name="T58" fmla="*/ 0 w 9927"/>
                <a:gd name="T59" fmla="*/ 0 h 5284"/>
                <a:gd name="T60" fmla="*/ 0 w 9927"/>
                <a:gd name="T61" fmla="*/ 0 h 5284"/>
                <a:gd name="T62" fmla="*/ 0 w 9927"/>
                <a:gd name="T63" fmla="*/ 0 h 5284"/>
                <a:gd name="T64" fmla="*/ 0 w 9927"/>
                <a:gd name="T65" fmla="*/ 0 h 5284"/>
                <a:gd name="T66" fmla="*/ 0 w 9927"/>
                <a:gd name="T67" fmla="*/ 0 h 5284"/>
                <a:gd name="T68" fmla="*/ 0 w 9927"/>
                <a:gd name="T69" fmla="*/ 0 h 5284"/>
                <a:gd name="T70" fmla="*/ 0 w 9927"/>
                <a:gd name="T71" fmla="*/ 0 h 5284"/>
                <a:gd name="T72" fmla="*/ 0 w 9927"/>
                <a:gd name="T73" fmla="*/ 0 h 5284"/>
                <a:gd name="T74" fmla="*/ 0 w 9927"/>
                <a:gd name="T75" fmla="*/ 0 h 5284"/>
                <a:gd name="T76" fmla="*/ 0 w 9927"/>
                <a:gd name="T77" fmla="*/ 0 h 5284"/>
                <a:gd name="T78" fmla="*/ 0 w 9927"/>
                <a:gd name="T79" fmla="*/ 0 h 5284"/>
                <a:gd name="T80" fmla="*/ 0 w 9927"/>
                <a:gd name="T81" fmla="*/ 0 h 5284"/>
                <a:gd name="T82" fmla="*/ 0 w 9927"/>
                <a:gd name="T83" fmla="*/ 0 h 5284"/>
                <a:gd name="T84" fmla="*/ 0 w 9927"/>
                <a:gd name="T85" fmla="*/ 0 h 5284"/>
                <a:gd name="T86" fmla="*/ 0 w 9927"/>
                <a:gd name="T87" fmla="*/ 0 h 5284"/>
                <a:gd name="T88" fmla="*/ 0 w 9927"/>
                <a:gd name="T89" fmla="*/ 0 h 5284"/>
                <a:gd name="T90" fmla="*/ 0 w 9927"/>
                <a:gd name="T91" fmla="*/ 0 h 5284"/>
                <a:gd name="T92" fmla="*/ 0 w 9927"/>
                <a:gd name="T93" fmla="*/ 0 h 5284"/>
                <a:gd name="T94" fmla="*/ 0 w 9927"/>
                <a:gd name="T95" fmla="*/ 0 h 5284"/>
                <a:gd name="T96" fmla="*/ 0 w 9927"/>
                <a:gd name="T97" fmla="*/ 0 h 5284"/>
                <a:gd name="T98" fmla="*/ 0 w 9927"/>
                <a:gd name="T99" fmla="*/ 0 h 5284"/>
                <a:gd name="T100" fmla="*/ 0 w 9927"/>
                <a:gd name="T101" fmla="*/ 0 h 5284"/>
                <a:gd name="T102" fmla="*/ 0 w 9927"/>
                <a:gd name="T103" fmla="*/ 0 h 5284"/>
                <a:gd name="T104" fmla="*/ 0 w 9927"/>
                <a:gd name="T105" fmla="*/ 0 h 5284"/>
                <a:gd name="T106" fmla="*/ 0 w 9927"/>
                <a:gd name="T107" fmla="*/ 0 h 5284"/>
                <a:gd name="T108" fmla="*/ 0 w 9927"/>
                <a:gd name="T109" fmla="*/ 0 h 5284"/>
                <a:gd name="T110" fmla="*/ 0 w 9927"/>
                <a:gd name="T111" fmla="*/ 0 h 5284"/>
                <a:gd name="T112" fmla="*/ 0 w 9927"/>
                <a:gd name="T113" fmla="*/ 0 h 5284"/>
                <a:gd name="T114" fmla="*/ 0 w 9927"/>
                <a:gd name="T115" fmla="*/ 0 h 5284"/>
                <a:gd name="T116" fmla="*/ 0 w 9927"/>
                <a:gd name="T117" fmla="*/ 0 h 528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927"/>
                <a:gd name="T178" fmla="*/ 0 h 5284"/>
                <a:gd name="T179" fmla="*/ 9927 w 9927"/>
                <a:gd name="T180" fmla="*/ 5284 h 528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927" h="5284">
                  <a:moveTo>
                    <a:pt x="5638" y="0"/>
                  </a:moveTo>
                  <a:lnTo>
                    <a:pt x="5676" y="2"/>
                  </a:lnTo>
                  <a:lnTo>
                    <a:pt x="5785" y="8"/>
                  </a:lnTo>
                  <a:lnTo>
                    <a:pt x="5954" y="18"/>
                  </a:lnTo>
                  <a:lnTo>
                    <a:pt x="6175" y="32"/>
                  </a:lnTo>
                  <a:lnTo>
                    <a:pt x="6437" y="47"/>
                  </a:lnTo>
                  <a:lnTo>
                    <a:pt x="6731" y="64"/>
                  </a:lnTo>
                  <a:lnTo>
                    <a:pt x="7048" y="82"/>
                  </a:lnTo>
                  <a:lnTo>
                    <a:pt x="7377" y="101"/>
                  </a:lnTo>
                  <a:lnTo>
                    <a:pt x="7709" y="120"/>
                  </a:lnTo>
                  <a:lnTo>
                    <a:pt x="8035" y="138"/>
                  </a:lnTo>
                  <a:lnTo>
                    <a:pt x="8345" y="155"/>
                  </a:lnTo>
                  <a:lnTo>
                    <a:pt x="8629" y="170"/>
                  </a:lnTo>
                  <a:lnTo>
                    <a:pt x="8878" y="184"/>
                  </a:lnTo>
                  <a:lnTo>
                    <a:pt x="9082" y="193"/>
                  </a:lnTo>
                  <a:lnTo>
                    <a:pt x="9164" y="197"/>
                  </a:lnTo>
                  <a:lnTo>
                    <a:pt x="9232" y="199"/>
                  </a:lnTo>
                  <a:lnTo>
                    <a:pt x="9283" y="201"/>
                  </a:lnTo>
                  <a:lnTo>
                    <a:pt x="9318" y="201"/>
                  </a:lnTo>
                  <a:lnTo>
                    <a:pt x="9371" y="202"/>
                  </a:lnTo>
                  <a:lnTo>
                    <a:pt x="9432" y="205"/>
                  </a:lnTo>
                  <a:lnTo>
                    <a:pt x="9463" y="208"/>
                  </a:lnTo>
                  <a:lnTo>
                    <a:pt x="9496" y="211"/>
                  </a:lnTo>
                  <a:lnTo>
                    <a:pt x="9529" y="214"/>
                  </a:lnTo>
                  <a:lnTo>
                    <a:pt x="9562" y="219"/>
                  </a:lnTo>
                  <a:lnTo>
                    <a:pt x="9596" y="226"/>
                  </a:lnTo>
                  <a:lnTo>
                    <a:pt x="9629" y="232"/>
                  </a:lnTo>
                  <a:lnTo>
                    <a:pt x="9661" y="239"/>
                  </a:lnTo>
                  <a:lnTo>
                    <a:pt x="9693" y="247"/>
                  </a:lnTo>
                  <a:lnTo>
                    <a:pt x="9724" y="256"/>
                  </a:lnTo>
                  <a:lnTo>
                    <a:pt x="9754" y="266"/>
                  </a:lnTo>
                  <a:lnTo>
                    <a:pt x="9782" y="279"/>
                  </a:lnTo>
                  <a:lnTo>
                    <a:pt x="9809" y="291"/>
                  </a:lnTo>
                  <a:lnTo>
                    <a:pt x="9833" y="305"/>
                  </a:lnTo>
                  <a:lnTo>
                    <a:pt x="9855" y="320"/>
                  </a:lnTo>
                  <a:lnTo>
                    <a:pt x="9875" y="337"/>
                  </a:lnTo>
                  <a:lnTo>
                    <a:pt x="9892" y="354"/>
                  </a:lnTo>
                  <a:lnTo>
                    <a:pt x="9905" y="374"/>
                  </a:lnTo>
                  <a:lnTo>
                    <a:pt x="9916" y="394"/>
                  </a:lnTo>
                  <a:lnTo>
                    <a:pt x="9923" y="416"/>
                  </a:lnTo>
                  <a:lnTo>
                    <a:pt x="9927" y="440"/>
                  </a:lnTo>
                  <a:lnTo>
                    <a:pt x="9926" y="465"/>
                  </a:lnTo>
                  <a:lnTo>
                    <a:pt x="9921" y="492"/>
                  </a:lnTo>
                  <a:lnTo>
                    <a:pt x="9912" y="520"/>
                  </a:lnTo>
                  <a:lnTo>
                    <a:pt x="9898" y="550"/>
                  </a:lnTo>
                  <a:lnTo>
                    <a:pt x="9878" y="583"/>
                  </a:lnTo>
                  <a:lnTo>
                    <a:pt x="9854" y="616"/>
                  </a:lnTo>
                  <a:lnTo>
                    <a:pt x="9824" y="651"/>
                  </a:lnTo>
                  <a:lnTo>
                    <a:pt x="9788" y="689"/>
                  </a:lnTo>
                  <a:lnTo>
                    <a:pt x="9668" y="808"/>
                  </a:lnTo>
                  <a:lnTo>
                    <a:pt x="9473" y="1004"/>
                  </a:lnTo>
                  <a:lnTo>
                    <a:pt x="9213" y="1265"/>
                  </a:lnTo>
                  <a:lnTo>
                    <a:pt x="8901" y="1579"/>
                  </a:lnTo>
                  <a:lnTo>
                    <a:pt x="8547" y="1937"/>
                  </a:lnTo>
                  <a:lnTo>
                    <a:pt x="8163" y="2323"/>
                  </a:lnTo>
                  <a:lnTo>
                    <a:pt x="7761" y="2728"/>
                  </a:lnTo>
                  <a:lnTo>
                    <a:pt x="7353" y="3141"/>
                  </a:lnTo>
                  <a:lnTo>
                    <a:pt x="6949" y="3548"/>
                  </a:lnTo>
                  <a:lnTo>
                    <a:pt x="6562" y="3938"/>
                  </a:lnTo>
                  <a:lnTo>
                    <a:pt x="6202" y="4301"/>
                  </a:lnTo>
                  <a:lnTo>
                    <a:pt x="5883" y="4624"/>
                  </a:lnTo>
                  <a:lnTo>
                    <a:pt x="5614" y="4895"/>
                  </a:lnTo>
                  <a:lnTo>
                    <a:pt x="5407" y="5104"/>
                  </a:lnTo>
                  <a:lnTo>
                    <a:pt x="5275" y="5237"/>
                  </a:lnTo>
                  <a:lnTo>
                    <a:pt x="5228" y="5284"/>
                  </a:lnTo>
                  <a:lnTo>
                    <a:pt x="666" y="5250"/>
                  </a:lnTo>
                  <a:lnTo>
                    <a:pt x="653" y="5251"/>
                  </a:lnTo>
                  <a:lnTo>
                    <a:pt x="616" y="5251"/>
                  </a:lnTo>
                  <a:lnTo>
                    <a:pt x="561" y="5250"/>
                  </a:lnTo>
                  <a:lnTo>
                    <a:pt x="492" y="5247"/>
                  </a:lnTo>
                  <a:lnTo>
                    <a:pt x="453" y="5245"/>
                  </a:lnTo>
                  <a:lnTo>
                    <a:pt x="413" y="5242"/>
                  </a:lnTo>
                  <a:lnTo>
                    <a:pt x="372" y="5239"/>
                  </a:lnTo>
                  <a:lnTo>
                    <a:pt x="330" y="5234"/>
                  </a:lnTo>
                  <a:lnTo>
                    <a:pt x="288" y="5228"/>
                  </a:lnTo>
                  <a:lnTo>
                    <a:pt x="247" y="5221"/>
                  </a:lnTo>
                  <a:lnTo>
                    <a:pt x="207" y="5213"/>
                  </a:lnTo>
                  <a:lnTo>
                    <a:pt x="169" y="5204"/>
                  </a:lnTo>
                  <a:lnTo>
                    <a:pt x="133" y="5192"/>
                  </a:lnTo>
                  <a:lnTo>
                    <a:pt x="101" y="5180"/>
                  </a:lnTo>
                  <a:lnTo>
                    <a:pt x="71" y="5166"/>
                  </a:lnTo>
                  <a:lnTo>
                    <a:pt x="47" y="5149"/>
                  </a:lnTo>
                  <a:lnTo>
                    <a:pt x="26" y="5132"/>
                  </a:lnTo>
                  <a:lnTo>
                    <a:pt x="11" y="5113"/>
                  </a:lnTo>
                  <a:lnTo>
                    <a:pt x="2" y="5090"/>
                  </a:lnTo>
                  <a:lnTo>
                    <a:pt x="0" y="5067"/>
                  </a:lnTo>
                  <a:lnTo>
                    <a:pt x="4" y="5040"/>
                  </a:lnTo>
                  <a:lnTo>
                    <a:pt x="17" y="5012"/>
                  </a:lnTo>
                  <a:lnTo>
                    <a:pt x="37" y="4981"/>
                  </a:lnTo>
                  <a:lnTo>
                    <a:pt x="67" y="4947"/>
                  </a:lnTo>
                  <a:lnTo>
                    <a:pt x="105" y="4912"/>
                  </a:lnTo>
                  <a:lnTo>
                    <a:pt x="154" y="4872"/>
                  </a:lnTo>
                  <a:lnTo>
                    <a:pt x="214" y="4830"/>
                  </a:lnTo>
                  <a:lnTo>
                    <a:pt x="285" y="4785"/>
                  </a:lnTo>
                  <a:lnTo>
                    <a:pt x="372" y="4728"/>
                  </a:lnTo>
                  <a:lnTo>
                    <a:pt x="479" y="4651"/>
                  </a:lnTo>
                  <a:lnTo>
                    <a:pt x="605" y="4554"/>
                  </a:lnTo>
                  <a:lnTo>
                    <a:pt x="749" y="4438"/>
                  </a:lnTo>
                  <a:lnTo>
                    <a:pt x="908" y="4307"/>
                  </a:lnTo>
                  <a:lnTo>
                    <a:pt x="1081" y="4161"/>
                  </a:lnTo>
                  <a:lnTo>
                    <a:pt x="1267" y="4001"/>
                  </a:lnTo>
                  <a:lnTo>
                    <a:pt x="1465" y="3829"/>
                  </a:lnTo>
                  <a:lnTo>
                    <a:pt x="1672" y="3648"/>
                  </a:lnTo>
                  <a:lnTo>
                    <a:pt x="1887" y="3457"/>
                  </a:lnTo>
                  <a:lnTo>
                    <a:pt x="2109" y="3259"/>
                  </a:lnTo>
                  <a:lnTo>
                    <a:pt x="2336" y="3055"/>
                  </a:lnTo>
                  <a:lnTo>
                    <a:pt x="2567" y="2846"/>
                  </a:lnTo>
                  <a:lnTo>
                    <a:pt x="2801" y="2634"/>
                  </a:lnTo>
                  <a:lnTo>
                    <a:pt x="3035" y="2421"/>
                  </a:lnTo>
                  <a:lnTo>
                    <a:pt x="3268" y="2207"/>
                  </a:lnTo>
                  <a:lnTo>
                    <a:pt x="3724" y="1787"/>
                  </a:lnTo>
                  <a:lnTo>
                    <a:pt x="4159" y="1384"/>
                  </a:lnTo>
                  <a:lnTo>
                    <a:pt x="4560" y="1010"/>
                  </a:lnTo>
                  <a:lnTo>
                    <a:pt x="4916" y="678"/>
                  </a:lnTo>
                  <a:lnTo>
                    <a:pt x="5213" y="399"/>
                  </a:lnTo>
                  <a:lnTo>
                    <a:pt x="5441" y="185"/>
                  </a:lnTo>
                  <a:lnTo>
                    <a:pt x="5586" y="48"/>
                  </a:lnTo>
                  <a:lnTo>
                    <a:pt x="5638" y="0"/>
                  </a:lnTo>
                  <a:close/>
                </a:path>
              </a:pathLst>
            </a:custGeom>
            <a:noFill/>
            <a:ln w="635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5" name="Freeform 242"/>
            <p:cNvSpPr>
              <a:spLocks/>
            </p:cNvSpPr>
            <p:nvPr/>
          </p:nvSpPr>
          <p:spPr bwMode="auto">
            <a:xfrm>
              <a:off x="1510" y="1945"/>
              <a:ext cx="142" cy="100"/>
            </a:xfrm>
            <a:custGeom>
              <a:avLst/>
              <a:gdLst>
                <a:gd name="T0" fmla="*/ 0 w 5973"/>
                <a:gd name="T1" fmla="*/ 0 h 4296"/>
                <a:gd name="T2" fmla="*/ 0 w 5973"/>
                <a:gd name="T3" fmla="*/ 0 h 4296"/>
                <a:gd name="T4" fmla="*/ 0 w 5973"/>
                <a:gd name="T5" fmla="*/ 0 h 4296"/>
                <a:gd name="T6" fmla="*/ 0 w 5973"/>
                <a:gd name="T7" fmla="*/ 0 h 4296"/>
                <a:gd name="T8" fmla="*/ 0 w 5973"/>
                <a:gd name="T9" fmla="*/ 0 h 4296"/>
                <a:gd name="T10" fmla="*/ 0 w 5973"/>
                <a:gd name="T11" fmla="*/ 0 h 4296"/>
                <a:gd name="T12" fmla="*/ 0 w 5973"/>
                <a:gd name="T13" fmla="*/ 0 h 4296"/>
                <a:gd name="T14" fmla="*/ 0 w 5973"/>
                <a:gd name="T15" fmla="*/ 0 h 4296"/>
                <a:gd name="T16" fmla="*/ 0 w 5973"/>
                <a:gd name="T17" fmla="*/ 0 h 4296"/>
                <a:gd name="T18" fmla="*/ 0 w 5973"/>
                <a:gd name="T19" fmla="*/ 0 h 4296"/>
                <a:gd name="T20" fmla="*/ 0 w 5973"/>
                <a:gd name="T21" fmla="*/ 0 h 4296"/>
                <a:gd name="T22" fmla="*/ 0 w 5973"/>
                <a:gd name="T23" fmla="*/ 0 h 4296"/>
                <a:gd name="T24" fmla="*/ 0 w 5973"/>
                <a:gd name="T25" fmla="*/ 0 h 4296"/>
                <a:gd name="T26" fmla="*/ 0 w 5973"/>
                <a:gd name="T27" fmla="*/ 0 h 4296"/>
                <a:gd name="T28" fmla="*/ 0 w 5973"/>
                <a:gd name="T29" fmla="*/ 0 h 4296"/>
                <a:gd name="T30" fmla="*/ 0 w 5973"/>
                <a:gd name="T31" fmla="*/ 0 h 4296"/>
                <a:gd name="T32" fmla="*/ 0 w 5973"/>
                <a:gd name="T33" fmla="*/ 0 h 4296"/>
                <a:gd name="T34" fmla="*/ 0 w 5973"/>
                <a:gd name="T35" fmla="*/ 0 h 4296"/>
                <a:gd name="T36" fmla="*/ 0 w 5973"/>
                <a:gd name="T37" fmla="*/ 0 h 4296"/>
                <a:gd name="T38" fmla="*/ 0 w 5973"/>
                <a:gd name="T39" fmla="*/ 0 h 4296"/>
                <a:gd name="T40" fmla="*/ 0 w 5973"/>
                <a:gd name="T41" fmla="*/ 0 h 4296"/>
                <a:gd name="T42" fmla="*/ 0 w 5973"/>
                <a:gd name="T43" fmla="*/ 0 h 4296"/>
                <a:gd name="T44" fmla="*/ 0 w 5973"/>
                <a:gd name="T45" fmla="*/ 0 h 4296"/>
                <a:gd name="T46" fmla="*/ 0 w 5973"/>
                <a:gd name="T47" fmla="*/ 0 h 4296"/>
                <a:gd name="T48" fmla="*/ 0 w 5973"/>
                <a:gd name="T49" fmla="*/ 0 h 4296"/>
                <a:gd name="T50" fmla="*/ 0 w 5973"/>
                <a:gd name="T51" fmla="*/ 0 h 4296"/>
                <a:gd name="T52" fmla="*/ 0 w 5973"/>
                <a:gd name="T53" fmla="*/ 0 h 4296"/>
                <a:gd name="T54" fmla="*/ 0 w 5973"/>
                <a:gd name="T55" fmla="*/ 0 h 4296"/>
                <a:gd name="T56" fmla="*/ 0 w 5973"/>
                <a:gd name="T57" fmla="*/ 0 h 4296"/>
                <a:gd name="T58" fmla="*/ 0 w 5973"/>
                <a:gd name="T59" fmla="*/ 0 h 4296"/>
                <a:gd name="T60" fmla="*/ 0 w 5973"/>
                <a:gd name="T61" fmla="*/ 0 h 4296"/>
                <a:gd name="T62" fmla="*/ 0 w 5973"/>
                <a:gd name="T63" fmla="*/ 0 h 4296"/>
                <a:gd name="T64" fmla="*/ 0 w 5973"/>
                <a:gd name="T65" fmla="*/ 0 h 4296"/>
                <a:gd name="T66" fmla="*/ 0 w 5973"/>
                <a:gd name="T67" fmla="*/ 0 h 4296"/>
                <a:gd name="T68" fmla="*/ 0 w 5973"/>
                <a:gd name="T69" fmla="*/ 0 h 4296"/>
                <a:gd name="T70" fmla="*/ 0 w 5973"/>
                <a:gd name="T71" fmla="*/ 0 h 4296"/>
                <a:gd name="T72" fmla="*/ 0 w 5973"/>
                <a:gd name="T73" fmla="*/ 0 h 4296"/>
                <a:gd name="T74" fmla="*/ 0 w 5973"/>
                <a:gd name="T75" fmla="*/ 0 h 4296"/>
                <a:gd name="T76" fmla="*/ 0 w 5973"/>
                <a:gd name="T77" fmla="*/ 0 h 4296"/>
                <a:gd name="T78" fmla="*/ 0 w 5973"/>
                <a:gd name="T79" fmla="*/ 0 h 4296"/>
                <a:gd name="T80" fmla="*/ 0 w 5973"/>
                <a:gd name="T81" fmla="*/ 0 h 4296"/>
                <a:gd name="T82" fmla="*/ 0 w 5973"/>
                <a:gd name="T83" fmla="*/ 0 h 4296"/>
                <a:gd name="T84" fmla="*/ 0 w 5973"/>
                <a:gd name="T85" fmla="*/ 0 h 4296"/>
                <a:gd name="T86" fmla="*/ 0 w 5973"/>
                <a:gd name="T87" fmla="*/ 0 h 4296"/>
                <a:gd name="T88" fmla="*/ 0 w 5973"/>
                <a:gd name="T89" fmla="*/ 0 h 4296"/>
                <a:gd name="T90" fmla="*/ 0 w 5973"/>
                <a:gd name="T91" fmla="*/ 0 h 4296"/>
                <a:gd name="T92" fmla="*/ 0 w 5973"/>
                <a:gd name="T93" fmla="*/ 0 h 4296"/>
                <a:gd name="T94" fmla="*/ 0 w 5973"/>
                <a:gd name="T95" fmla="*/ 0 h 4296"/>
                <a:gd name="T96" fmla="*/ 0 w 5973"/>
                <a:gd name="T97" fmla="*/ 0 h 4296"/>
                <a:gd name="T98" fmla="*/ 0 w 5973"/>
                <a:gd name="T99" fmla="*/ 0 h 4296"/>
                <a:gd name="T100" fmla="*/ 0 w 5973"/>
                <a:gd name="T101" fmla="*/ 0 h 4296"/>
                <a:gd name="T102" fmla="*/ 0 w 5973"/>
                <a:gd name="T103" fmla="*/ 0 h 4296"/>
                <a:gd name="T104" fmla="*/ 0 w 5973"/>
                <a:gd name="T105" fmla="*/ 0 h 4296"/>
                <a:gd name="T106" fmla="*/ 0 w 5973"/>
                <a:gd name="T107" fmla="*/ 0 h 4296"/>
                <a:gd name="T108" fmla="*/ 0 w 5973"/>
                <a:gd name="T109" fmla="*/ 0 h 4296"/>
                <a:gd name="T110" fmla="*/ 0 w 5973"/>
                <a:gd name="T111" fmla="*/ 0 h 4296"/>
                <a:gd name="T112" fmla="*/ 0 w 5973"/>
                <a:gd name="T113" fmla="*/ 0 h 4296"/>
                <a:gd name="T114" fmla="*/ 0 w 5973"/>
                <a:gd name="T115" fmla="*/ 0 h 42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73"/>
                <a:gd name="T175" fmla="*/ 0 h 4296"/>
                <a:gd name="T176" fmla="*/ 5973 w 5973"/>
                <a:gd name="T177" fmla="*/ 4296 h 42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73" h="4296">
                  <a:moveTo>
                    <a:pt x="2049" y="4259"/>
                  </a:moveTo>
                  <a:lnTo>
                    <a:pt x="0" y="4296"/>
                  </a:lnTo>
                  <a:lnTo>
                    <a:pt x="10" y="4274"/>
                  </a:lnTo>
                  <a:lnTo>
                    <a:pt x="40" y="4208"/>
                  </a:lnTo>
                  <a:lnTo>
                    <a:pt x="88" y="4106"/>
                  </a:lnTo>
                  <a:lnTo>
                    <a:pt x="153" y="3968"/>
                  </a:lnTo>
                  <a:lnTo>
                    <a:pt x="192" y="3888"/>
                  </a:lnTo>
                  <a:lnTo>
                    <a:pt x="234" y="3801"/>
                  </a:lnTo>
                  <a:lnTo>
                    <a:pt x="281" y="3709"/>
                  </a:lnTo>
                  <a:lnTo>
                    <a:pt x="330" y="3611"/>
                  </a:lnTo>
                  <a:lnTo>
                    <a:pt x="383" y="3508"/>
                  </a:lnTo>
                  <a:lnTo>
                    <a:pt x="440" y="3400"/>
                  </a:lnTo>
                  <a:lnTo>
                    <a:pt x="499" y="3287"/>
                  </a:lnTo>
                  <a:lnTo>
                    <a:pt x="562" y="3172"/>
                  </a:lnTo>
                  <a:lnTo>
                    <a:pt x="627" y="3055"/>
                  </a:lnTo>
                  <a:lnTo>
                    <a:pt x="695" y="2934"/>
                  </a:lnTo>
                  <a:lnTo>
                    <a:pt x="767" y="2812"/>
                  </a:lnTo>
                  <a:lnTo>
                    <a:pt x="839" y="2688"/>
                  </a:lnTo>
                  <a:lnTo>
                    <a:pt x="914" y="2565"/>
                  </a:lnTo>
                  <a:lnTo>
                    <a:pt x="992" y="2441"/>
                  </a:lnTo>
                  <a:lnTo>
                    <a:pt x="1071" y="2318"/>
                  </a:lnTo>
                  <a:lnTo>
                    <a:pt x="1152" y="2196"/>
                  </a:lnTo>
                  <a:lnTo>
                    <a:pt x="1234" y="2074"/>
                  </a:lnTo>
                  <a:lnTo>
                    <a:pt x="1318" y="1957"/>
                  </a:lnTo>
                  <a:lnTo>
                    <a:pt x="1403" y="1841"/>
                  </a:lnTo>
                  <a:lnTo>
                    <a:pt x="1490" y="1728"/>
                  </a:lnTo>
                  <a:lnTo>
                    <a:pt x="1577" y="1620"/>
                  </a:lnTo>
                  <a:lnTo>
                    <a:pt x="1666" y="1515"/>
                  </a:lnTo>
                  <a:lnTo>
                    <a:pt x="1755" y="1417"/>
                  </a:lnTo>
                  <a:lnTo>
                    <a:pt x="1845" y="1322"/>
                  </a:lnTo>
                  <a:lnTo>
                    <a:pt x="1934" y="1232"/>
                  </a:lnTo>
                  <a:lnTo>
                    <a:pt x="2024" y="1144"/>
                  </a:lnTo>
                  <a:lnTo>
                    <a:pt x="2115" y="1056"/>
                  </a:lnTo>
                  <a:lnTo>
                    <a:pt x="2205" y="970"/>
                  </a:lnTo>
                  <a:lnTo>
                    <a:pt x="2296" y="888"/>
                  </a:lnTo>
                  <a:lnTo>
                    <a:pt x="2387" y="805"/>
                  </a:lnTo>
                  <a:lnTo>
                    <a:pt x="2479" y="726"/>
                  </a:lnTo>
                  <a:lnTo>
                    <a:pt x="2572" y="649"/>
                  </a:lnTo>
                  <a:lnTo>
                    <a:pt x="2665" y="576"/>
                  </a:lnTo>
                  <a:lnTo>
                    <a:pt x="2759" y="506"/>
                  </a:lnTo>
                  <a:lnTo>
                    <a:pt x="2854" y="439"/>
                  </a:lnTo>
                  <a:lnTo>
                    <a:pt x="2951" y="375"/>
                  </a:lnTo>
                  <a:lnTo>
                    <a:pt x="3048" y="317"/>
                  </a:lnTo>
                  <a:lnTo>
                    <a:pt x="3147" y="262"/>
                  </a:lnTo>
                  <a:lnTo>
                    <a:pt x="3248" y="212"/>
                  </a:lnTo>
                  <a:lnTo>
                    <a:pt x="3350" y="165"/>
                  </a:lnTo>
                  <a:lnTo>
                    <a:pt x="3453" y="125"/>
                  </a:lnTo>
                  <a:lnTo>
                    <a:pt x="3559" y="90"/>
                  </a:lnTo>
                  <a:lnTo>
                    <a:pt x="3666" y="59"/>
                  </a:lnTo>
                  <a:lnTo>
                    <a:pt x="3775" y="36"/>
                  </a:lnTo>
                  <a:lnTo>
                    <a:pt x="3886" y="17"/>
                  </a:lnTo>
                  <a:lnTo>
                    <a:pt x="4000" y="5"/>
                  </a:lnTo>
                  <a:lnTo>
                    <a:pt x="4115" y="0"/>
                  </a:lnTo>
                  <a:lnTo>
                    <a:pt x="4234" y="1"/>
                  </a:lnTo>
                  <a:lnTo>
                    <a:pt x="4354" y="9"/>
                  </a:lnTo>
                  <a:lnTo>
                    <a:pt x="4477" y="24"/>
                  </a:lnTo>
                  <a:lnTo>
                    <a:pt x="4603" y="47"/>
                  </a:lnTo>
                  <a:lnTo>
                    <a:pt x="4732" y="77"/>
                  </a:lnTo>
                  <a:lnTo>
                    <a:pt x="4864" y="115"/>
                  </a:lnTo>
                  <a:lnTo>
                    <a:pt x="4998" y="162"/>
                  </a:lnTo>
                  <a:lnTo>
                    <a:pt x="5136" y="217"/>
                  </a:lnTo>
                  <a:lnTo>
                    <a:pt x="5278" y="282"/>
                  </a:lnTo>
                  <a:lnTo>
                    <a:pt x="5315" y="298"/>
                  </a:lnTo>
                  <a:lnTo>
                    <a:pt x="5356" y="312"/>
                  </a:lnTo>
                  <a:lnTo>
                    <a:pt x="5400" y="326"/>
                  </a:lnTo>
                  <a:lnTo>
                    <a:pt x="5445" y="338"/>
                  </a:lnTo>
                  <a:lnTo>
                    <a:pt x="5539" y="360"/>
                  </a:lnTo>
                  <a:lnTo>
                    <a:pt x="5634" y="383"/>
                  </a:lnTo>
                  <a:lnTo>
                    <a:pt x="5680" y="395"/>
                  </a:lnTo>
                  <a:lnTo>
                    <a:pt x="5725" y="408"/>
                  </a:lnTo>
                  <a:lnTo>
                    <a:pt x="5768" y="423"/>
                  </a:lnTo>
                  <a:lnTo>
                    <a:pt x="5808" y="439"/>
                  </a:lnTo>
                  <a:lnTo>
                    <a:pt x="5845" y="458"/>
                  </a:lnTo>
                  <a:lnTo>
                    <a:pt x="5879" y="479"/>
                  </a:lnTo>
                  <a:lnTo>
                    <a:pt x="5908" y="502"/>
                  </a:lnTo>
                  <a:lnTo>
                    <a:pt x="5933" y="528"/>
                  </a:lnTo>
                  <a:lnTo>
                    <a:pt x="5952" y="559"/>
                  </a:lnTo>
                  <a:lnTo>
                    <a:pt x="5966" y="593"/>
                  </a:lnTo>
                  <a:lnTo>
                    <a:pt x="5973" y="632"/>
                  </a:lnTo>
                  <a:lnTo>
                    <a:pt x="5973" y="673"/>
                  </a:lnTo>
                  <a:lnTo>
                    <a:pt x="5966" y="721"/>
                  </a:lnTo>
                  <a:lnTo>
                    <a:pt x="5951" y="774"/>
                  </a:lnTo>
                  <a:lnTo>
                    <a:pt x="5927" y="833"/>
                  </a:lnTo>
                  <a:lnTo>
                    <a:pt x="5894" y="897"/>
                  </a:lnTo>
                  <a:lnTo>
                    <a:pt x="5852" y="967"/>
                  </a:lnTo>
                  <a:lnTo>
                    <a:pt x="5799" y="1044"/>
                  </a:lnTo>
                  <a:lnTo>
                    <a:pt x="5735" y="1128"/>
                  </a:lnTo>
                  <a:lnTo>
                    <a:pt x="5660" y="1219"/>
                  </a:lnTo>
                  <a:lnTo>
                    <a:pt x="5573" y="1318"/>
                  </a:lnTo>
                  <a:lnTo>
                    <a:pt x="5474" y="1425"/>
                  </a:lnTo>
                  <a:lnTo>
                    <a:pt x="5361" y="1541"/>
                  </a:lnTo>
                  <a:lnTo>
                    <a:pt x="5236" y="1665"/>
                  </a:lnTo>
                  <a:lnTo>
                    <a:pt x="5140" y="1756"/>
                  </a:lnTo>
                  <a:lnTo>
                    <a:pt x="5038" y="1850"/>
                  </a:lnTo>
                  <a:lnTo>
                    <a:pt x="4930" y="1949"/>
                  </a:lnTo>
                  <a:lnTo>
                    <a:pt x="4817" y="2050"/>
                  </a:lnTo>
                  <a:lnTo>
                    <a:pt x="4699" y="2152"/>
                  </a:lnTo>
                  <a:lnTo>
                    <a:pt x="4577" y="2257"/>
                  </a:lnTo>
                  <a:lnTo>
                    <a:pt x="4452" y="2364"/>
                  </a:lnTo>
                  <a:lnTo>
                    <a:pt x="4324" y="2471"/>
                  </a:lnTo>
                  <a:lnTo>
                    <a:pt x="4193" y="2579"/>
                  </a:lnTo>
                  <a:lnTo>
                    <a:pt x="4062" y="2687"/>
                  </a:lnTo>
                  <a:lnTo>
                    <a:pt x="3929" y="2796"/>
                  </a:lnTo>
                  <a:lnTo>
                    <a:pt x="3796" y="2904"/>
                  </a:lnTo>
                  <a:lnTo>
                    <a:pt x="3663" y="3010"/>
                  </a:lnTo>
                  <a:lnTo>
                    <a:pt x="3532" y="3115"/>
                  </a:lnTo>
                  <a:lnTo>
                    <a:pt x="3402" y="3218"/>
                  </a:lnTo>
                  <a:lnTo>
                    <a:pt x="3274" y="3318"/>
                  </a:lnTo>
                  <a:lnTo>
                    <a:pt x="3028" y="3511"/>
                  </a:lnTo>
                  <a:lnTo>
                    <a:pt x="2798" y="3688"/>
                  </a:lnTo>
                  <a:lnTo>
                    <a:pt x="2590" y="3849"/>
                  </a:lnTo>
                  <a:lnTo>
                    <a:pt x="2409" y="3987"/>
                  </a:lnTo>
                  <a:lnTo>
                    <a:pt x="2259" y="4102"/>
                  </a:lnTo>
                  <a:lnTo>
                    <a:pt x="2145" y="4186"/>
                  </a:lnTo>
                  <a:lnTo>
                    <a:pt x="2074" y="4240"/>
                  </a:lnTo>
                  <a:lnTo>
                    <a:pt x="2049" y="4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6" name="Freeform 243"/>
            <p:cNvSpPr>
              <a:spLocks/>
            </p:cNvSpPr>
            <p:nvPr/>
          </p:nvSpPr>
          <p:spPr bwMode="auto">
            <a:xfrm>
              <a:off x="1510" y="1945"/>
              <a:ext cx="142" cy="100"/>
            </a:xfrm>
            <a:custGeom>
              <a:avLst/>
              <a:gdLst>
                <a:gd name="T0" fmla="*/ 0 w 5973"/>
                <a:gd name="T1" fmla="*/ 0 h 4296"/>
                <a:gd name="T2" fmla="*/ 0 w 5973"/>
                <a:gd name="T3" fmla="*/ 0 h 4296"/>
                <a:gd name="T4" fmla="*/ 0 w 5973"/>
                <a:gd name="T5" fmla="*/ 0 h 4296"/>
                <a:gd name="T6" fmla="*/ 0 w 5973"/>
                <a:gd name="T7" fmla="*/ 0 h 4296"/>
                <a:gd name="T8" fmla="*/ 0 w 5973"/>
                <a:gd name="T9" fmla="*/ 0 h 4296"/>
                <a:gd name="T10" fmla="*/ 0 w 5973"/>
                <a:gd name="T11" fmla="*/ 0 h 4296"/>
                <a:gd name="T12" fmla="*/ 0 w 5973"/>
                <a:gd name="T13" fmla="*/ 0 h 4296"/>
                <a:gd name="T14" fmla="*/ 0 w 5973"/>
                <a:gd name="T15" fmla="*/ 0 h 4296"/>
                <a:gd name="T16" fmla="*/ 0 w 5973"/>
                <a:gd name="T17" fmla="*/ 0 h 4296"/>
                <a:gd name="T18" fmla="*/ 0 w 5973"/>
                <a:gd name="T19" fmla="*/ 0 h 4296"/>
                <a:gd name="T20" fmla="*/ 0 w 5973"/>
                <a:gd name="T21" fmla="*/ 0 h 4296"/>
                <a:gd name="T22" fmla="*/ 0 w 5973"/>
                <a:gd name="T23" fmla="*/ 0 h 4296"/>
                <a:gd name="T24" fmla="*/ 0 w 5973"/>
                <a:gd name="T25" fmla="*/ 0 h 4296"/>
                <a:gd name="T26" fmla="*/ 0 w 5973"/>
                <a:gd name="T27" fmla="*/ 0 h 4296"/>
                <a:gd name="T28" fmla="*/ 0 w 5973"/>
                <a:gd name="T29" fmla="*/ 0 h 4296"/>
                <a:gd name="T30" fmla="*/ 0 w 5973"/>
                <a:gd name="T31" fmla="*/ 0 h 4296"/>
                <a:gd name="T32" fmla="*/ 0 w 5973"/>
                <a:gd name="T33" fmla="*/ 0 h 4296"/>
                <a:gd name="T34" fmla="*/ 0 w 5973"/>
                <a:gd name="T35" fmla="*/ 0 h 4296"/>
                <a:gd name="T36" fmla="*/ 0 w 5973"/>
                <a:gd name="T37" fmla="*/ 0 h 4296"/>
                <a:gd name="T38" fmla="*/ 0 w 5973"/>
                <a:gd name="T39" fmla="*/ 0 h 4296"/>
                <a:gd name="T40" fmla="*/ 0 w 5973"/>
                <a:gd name="T41" fmla="*/ 0 h 4296"/>
                <a:gd name="T42" fmla="*/ 0 w 5973"/>
                <a:gd name="T43" fmla="*/ 0 h 4296"/>
                <a:gd name="T44" fmla="*/ 0 w 5973"/>
                <a:gd name="T45" fmla="*/ 0 h 4296"/>
                <a:gd name="T46" fmla="*/ 0 w 5973"/>
                <a:gd name="T47" fmla="*/ 0 h 4296"/>
                <a:gd name="T48" fmla="*/ 0 w 5973"/>
                <a:gd name="T49" fmla="*/ 0 h 4296"/>
                <a:gd name="T50" fmla="*/ 0 w 5973"/>
                <a:gd name="T51" fmla="*/ 0 h 4296"/>
                <a:gd name="T52" fmla="*/ 0 w 5973"/>
                <a:gd name="T53" fmla="*/ 0 h 4296"/>
                <a:gd name="T54" fmla="*/ 0 w 5973"/>
                <a:gd name="T55" fmla="*/ 0 h 4296"/>
                <a:gd name="T56" fmla="*/ 0 w 5973"/>
                <a:gd name="T57" fmla="*/ 0 h 4296"/>
                <a:gd name="T58" fmla="*/ 0 w 5973"/>
                <a:gd name="T59" fmla="*/ 0 h 4296"/>
                <a:gd name="T60" fmla="*/ 0 w 5973"/>
                <a:gd name="T61" fmla="*/ 0 h 4296"/>
                <a:gd name="T62" fmla="*/ 0 w 5973"/>
                <a:gd name="T63" fmla="*/ 0 h 4296"/>
                <a:gd name="T64" fmla="*/ 0 w 5973"/>
                <a:gd name="T65" fmla="*/ 0 h 4296"/>
                <a:gd name="T66" fmla="*/ 0 w 5973"/>
                <a:gd name="T67" fmla="*/ 0 h 4296"/>
                <a:gd name="T68" fmla="*/ 0 w 5973"/>
                <a:gd name="T69" fmla="*/ 0 h 4296"/>
                <a:gd name="T70" fmla="*/ 0 w 5973"/>
                <a:gd name="T71" fmla="*/ 0 h 4296"/>
                <a:gd name="T72" fmla="*/ 0 w 5973"/>
                <a:gd name="T73" fmla="*/ 0 h 4296"/>
                <a:gd name="T74" fmla="*/ 0 w 5973"/>
                <a:gd name="T75" fmla="*/ 0 h 4296"/>
                <a:gd name="T76" fmla="*/ 0 w 5973"/>
                <a:gd name="T77" fmla="*/ 0 h 4296"/>
                <a:gd name="T78" fmla="*/ 0 w 5973"/>
                <a:gd name="T79" fmla="*/ 0 h 4296"/>
                <a:gd name="T80" fmla="*/ 0 w 5973"/>
                <a:gd name="T81" fmla="*/ 0 h 4296"/>
                <a:gd name="T82" fmla="*/ 0 w 5973"/>
                <a:gd name="T83" fmla="*/ 0 h 4296"/>
                <a:gd name="T84" fmla="*/ 0 w 5973"/>
                <a:gd name="T85" fmla="*/ 0 h 4296"/>
                <a:gd name="T86" fmla="*/ 0 w 5973"/>
                <a:gd name="T87" fmla="*/ 0 h 4296"/>
                <a:gd name="T88" fmla="*/ 0 w 5973"/>
                <a:gd name="T89" fmla="*/ 0 h 4296"/>
                <a:gd name="T90" fmla="*/ 0 w 5973"/>
                <a:gd name="T91" fmla="*/ 0 h 4296"/>
                <a:gd name="T92" fmla="*/ 0 w 5973"/>
                <a:gd name="T93" fmla="*/ 0 h 4296"/>
                <a:gd name="T94" fmla="*/ 0 w 5973"/>
                <a:gd name="T95" fmla="*/ 0 h 4296"/>
                <a:gd name="T96" fmla="*/ 0 w 5973"/>
                <a:gd name="T97" fmla="*/ 0 h 4296"/>
                <a:gd name="T98" fmla="*/ 0 w 5973"/>
                <a:gd name="T99" fmla="*/ 0 h 4296"/>
                <a:gd name="T100" fmla="*/ 0 w 5973"/>
                <a:gd name="T101" fmla="*/ 0 h 4296"/>
                <a:gd name="T102" fmla="*/ 0 w 5973"/>
                <a:gd name="T103" fmla="*/ 0 h 4296"/>
                <a:gd name="T104" fmla="*/ 0 w 5973"/>
                <a:gd name="T105" fmla="*/ 0 h 4296"/>
                <a:gd name="T106" fmla="*/ 0 w 5973"/>
                <a:gd name="T107" fmla="*/ 0 h 4296"/>
                <a:gd name="T108" fmla="*/ 0 w 5973"/>
                <a:gd name="T109" fmla="*/ 0 h 4296"/>
                <a:gd name="T110" fmla="*/ 0 w 5973"/>
                <a:gd name="T111" fmla="*/ 0 h 4296"/>
                <a:gd name="T112" fmla="*/ 0 w 5973"/>
                <a:gd name="T113" fmla="*/ 0 h 4296"/>
                <a:gd name="T114" fmla="*/ 0 w 5973"/>
                <a:gd name="T115" fmla="*/ 0 h 42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73"/>
                <a:gd name="T175" fmla="*/ 0 h 4296"/>
                <a:gd name="T176" fmla="*/ 5973 w 5973"/>
                <a:gd name="T177" fmla="*/ 4296 h 42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73" h="4296">
                  <a:moveTo>
                    <a:pt x="2049" y="4259"/>
                  </a:moveTo>
                  <a:lnTo>
                    <a:pt x="0" y="4296"/>
                  </a:lnTo>
                  <a:lnTo>
                    <a:pt x="10" y="4274"/>
                  </a:lnTo>
                  <a:lnTo>
                    <a:pt x="40" y="4208"/>
                  </a:lnTo>
                  <a:lnTo>
                    <a:pt x="88" y="4106"/>
                  </a:lnTo>
                  <a:lnTo>
                    <a:pt x="153" y="3968"/>
                  </a:lnTo>
                  <a:lnTo>
                    <a:pt x="192" y="3888"/>
                  </a:lnTo>
                  <a:lnTo>
                    <a:pt x="234" y="3801"/>
                  </a:lnTo>
                  <a:lnTo>
                    <a:pt x="281" y="3709"/>
                  </a:lnTo>
                  <a:lnTo>
                    <a:pt x="330" y="3611"/>
                  </a:lnTo>
                  <a:lnTo>
                    <a:pt x="383" y="3508"/>
                  </a:lnTo>
                  <a:lnTo>
                    <a:pt x="440" y="3400"/>
                  </a:lnTo>
                  <a:lnTo>
                    <a:pt x="499" y="3287"/>
                  </a:lnTo>
                  <a:lnTo>
                    <a:pt x="562" y="3172"/>
                  </a:lnTo>
                  <a:lnTo>
                    <a:pt x="627" y="3055"/>
                  </a:lnTo>
                  <a:lnTo>
                    <a:pt x="695" y="2934"/>
                  </a:lnTo>
                  <a:lnTo>
                    <a:pt x="767" y="2812"/>
                  </a:lnTo>
                  <a:lnTo>
                    <a:pt x="839" y="2688"/>
                  </a:lnTo>
                  <a:lnTo>
                    <a:pt x="914" y="2565"/>
                  </a:lnTo>
                  <a:lnTo>
                    <a:pt x="992" y="2441"/>
                  </a:lnTo>
                  <a:lnTo>
                    <a:pt x="1071" y="2318"/>
                  </a:lnTo>
                  <a:lnTo>
                    <a:pt x="1152" y="2196"/>
                  </a:lnTo>
                  <a:lnTo>
                    <a:pt x="1234" y="2074"/>
                  </a:lnTo>
                  <a:lnTo>
                    <a:pt x="1318" y="1957"/>
                  </a:lnTo>
                  <a:lnTo>
                    <a:pt x="1403" y="1841"/>
                  </a:lnTo>
                  <a:lnTo>
                    <a:pt x="1490" y="1728"/>
                  </a:lnTo>
                  <a:lnTo>
                    <a:pt x="1577" y="1620"/>
                  </a:lnTo>
                  <a:lnTo>
                    <a:pt x="1666" y="1515"/>
                  </a:lnTo>
                  <a:lnTo>
                    <a:pt x="1755" y="1417"/>
                  </a:lnTo>
                  <a:lnTo>
                    <a:pt x="1845" y="1322"/>
                  </a:lnTo>
                  <a:lnTo>
                    <a:pt x="1934" y="1232"/>
                  </a:lnTo>
                  <a:lnTo>
                    <a:pt x="2024" y="1144"/>
                  </a:lnTo>
                  <a:lnTo>
                    <a:pt x="2115" y="1056"/>
                  </a:lnTo>
                  <a:lnTo>
                    <a:pt x="2205" y="970"/>
                  </a:lnTo>
                  <a:lnTo>
                    <a:pt x="2296" y="888"/>
                  </a:lnTo>
                  <a:lnTo>
                    <a:pt x="2387" y="805"/>
                  </a:lnTo>
                  <a:lnTo>
                    <a:pt x="2479" y="726"/>
                  </a:lnTo>
                  <a:lnTo>
                    <a:pt x="2572" y="649"/>
                  </a:lnTo>
                  <a:lnTo>
                    <a:pt x="2665" y="576"/>
                  </a:lnTo>
                  <a:lnTo>
                    <a:pt x="2759" y="506"/>
                  </a:lnTo>
                  <a:lnTo>
                    <a:pt x="2854" y="439"/>
                  </a:lnTo>
                  <a:lnTo>
                    <a:pt x="2951" y="375"/>
                  </a:lnTo>
                  <a:lnTo>
                    <a:pt x="3048" y="317"/>
                  </a:lnTo>
                  <a:lnTo>
                    <a:pt x="3147" y="262"/>
                  </a:lnTo>
                  <a:lnTo>
                    <a:pt x="3248" y="212"/>
                  </a:lnTo>
                  <a:lnTo>
                    <a:pt x="3350" y="165"/>
                  </a:lnTo>
                  <a:lnTo>
                    <a:pt x="3453" y="125"/>
                  </a:lnTo>
                  <a:lnTo>
                    <a:pt x="3559" y="90"/>
                  </a:lnTo>
                  <a:lnTo>
                    <a:pt x="3666" y="59"/>
                  </a:lnTo>
                  <a:lnTo>
                    <a:pt x="3775" y="36"/>
                  </a:lnTo>
                  <a:lnTo>
                    <a:pt x="3886" y="17"/>
                  </a:lnTo>
                  <a:lnTo>
                    <a:pt x="4000" y="5"/>
                  </a:lnTo>
                  <a:lnTo>
                    <a:pt x="4115" y="0"/>
                  </a:lnTo>
                  <a:lnTo>
                    <a:pt x="4234" y="1"/>
                  </a:lnTo>
                  <a:lnTo>
                    <a:pt x="4354" y="9"/>
                  </a:lnTo>
                  <a:lnTo>
                    <a:pt x="4477" y="24"/>
                  </a:lnTo>
                  <a:lnTo>
                    <a:pt x="4603" y="47"/>
                  </a:lnTo>
                  <a:lnTo>
                    <a:pt x="4732" y="77"/>
                  </a:lnTo>
                  <a:lnTo>
                    <a:pt x="4864" y="115"/>
                  </a:lnTo>
                  <a:lnTo>
                    <a:pt x="4998" y="162"/>
                  </a:lnTo>
                  <a:lnTo>
                    <a:pt x="5136" y="217"/>
                  </a:lnTo>
                  <a:lnTo>
                    <a:pt x="5278" y="282"/>
                  </a:lnTo>
                  <a:lnTo>
                    <a:pt x="5315" y="298"/>
                  </a:lnTo>
                  <a:lnTo>
                    <a:pt x="5356" y="312"/>
                  </a:lnTo>
                  <a:lnTo>
                    <a:pt x="5400" y="326"/>
                  </a:lnTo>
                  <a:lnTo>
                    <a:pt x="5445" y="338"/>
                  </a:lnTo>
                  <a:lnTo>
                    <a:pt x="5539" y="360"/>
                  </a:lnTo>
                  <a:lnTo>
                    <a:pt x="5634" y="383"/>
                  </a:lnTo>
                  <a:lnTo>
                    <a:pt x="5680" y="395"/>
                  </a:lnTo>
                  <a:lnTo>
                    <a:pt x="5725" y="408"/>
                  </a:lnTo>
                  <a:lnTo>
                    <a:pt x="5768" y="423"/>
                  </a:lnTo>
                  <a:lnTo>
                    <a:pt x="5808" y="439"/>
                  </a:lnTo>
                  <a:lnTo>
                    <a:pt x="5845" y="458"/>
                  </a:lnTo>
                  <a:lnTo>
                    <a:pt x="5879" y="479"/>
                  </a:lnTo>
                  <a:lnTo>
                    <a:pt x="5908" y="502"/>
                  </a:lnTo>
                  <a:lnTo>
                    <a:pt x="5933" y="528"/>
                  </a:lnTo>
                  <a:lnTo>
                    <a:pt x="5952" y="559"/>
                  </a:lnTo>
                  <a:lnTo>
                    <a:pt x="5966" y="593"/>
                  </a:lnTo>
                  <a:lnTo>
                    <a:pt x="5973" y="632"/>
                  </a:lnTo>
                  <a:lnTo>
                    <a:pt x="5973" y="673"/>
                  </a:lnTo>
                  <a:lnTo>
                    <a:pt x="5966" y="721"/>
                  </a:lnTo>
                  <a:lnTo>
                    <a:pt x="5951" y="774"/>
                  </a:lnTo>
                  <a:lnTo>
                    <a:pt x="5927" y="833"/>
                  </a:lnTo>
                  <a:lnTo>
                    <a:pt x="5894" y="897"/>
                  </a:lnTo>
                  <a:lnTo>
                    <a:pt x="5852" y="967"/>
                  </a:lnTo>
                  <a:lnTo>
                    <a:pt x="5799" y="1044"/>
                  </a:lnTo>
                  <a:lnTo>
                    <a:pt x="5735" y="1128"/>
                  </a:lnTo>
                  <a:lnTo>
                    <a:pt x="5660" y="1219"/>
                  </a:lnTo>
                  <a:lnTo>
                    <a:pt x="5573" y="1318"/>
                  </a:lnTo>
                  <a:lnTo>
                    <a:pt x="5474" y="1425"/>
                  </a:lnTo>
                  <a:lnTo>
                    <a:pt x="5361" y="1541"/>
                  </a:lnTo>
                  <a:lnTo>
                    <a:pt x="5236" y="1665"/>
                  </a:lnTo>
                  <a:lnTo>
                    <a:pt x="5140" y="1756"/>
                  </a:lnTo>
                  <a:lnTo>
                    <a:pt x="5038" y="1850"/>
                  </a:lnTo>
                  <a:lnTo>
                    <a:pt x="4930" y="1949"/>
                  </a:lnTo>
                  <a:lnTo>
                    <a:pt x="4817" y="2050"/>
                  </a:lnTo>
                  <a:lnTo>
                    <a:pt x="4699" y="2152"/>
                  </a:lnTo>
                  <a:lnTo>
                    <a:pt x="4577" y="2257"/>
                  </a:lnTo>
                  <a:lnTo>
                    <a:pt x="4452" y="2364"/>
                  </a:lnTo>
                  <a:lnTo>
                    <a:pt x="4324" y="2471"/>
                  </a:lnTo>
                  <a:lnTo>
                    <a:pt x="4193" y="2579"/>
                  </a:lnTo>
                  <a:lnTo>
                    <a:pt x="4062" y="2687"/>
                  </a:lnTo>
                  <a:lnTo>
                    <a:pt x="3929" y="2796"/>
                  </a:lnTo>
                  <a:lnTo>
                    <a:pt x="3796" y="2904"/>
                  </a:lnTo>
                  <a:lnTo>
                    <a:pt x="3663" y="3010"/>
                  </a:lnTo>
                  <a:lnTo>
                    <a:pt x="3532" y="3115"/>
                  </a:lnTo>
                  <a:lnTo>
                    <a:pt x="3402" y="3218"/>
                  </a:lnTo>
                  <a:lnTo>
                    <a:pt x="3274" y="3318"/>
                  </a:lnTo>
                  <a:lnTo>
                    <a:pt x="3028" y="3511"/>
                  </a:lnTo>
                  <a:lnTo>
                    <a:pt x="2798" y="3688"/>
                  </a:lnTo>
                  <a:lnTo>
                    <a:pt x="2590" y="3849"/>
                  </a:lnTo>
                  <a:lnTo>
                    <a:pt x="2409" y="3987"/>
                  </a:lnTo>
                  <a:lnTo>
                    <a:pt x="2259" y="4102"/>
                  </a:lnTo>
                  <a:lnTo>
                    <a:pt x="2145" y="4186"/>
                  </a:lnTo>
                  <a:lnTo>
                    <a:pt x="2074" y="4240"/>
                  </a:lnTo>
                  <a:lnTo>
                    <a:pt x="2049" y="4259"/>
                  </a:lnTo>
                  <a:close/>
                </a:path>
              </a:pathLst>
            </a:custGeom>
            <a:noFill/>
            <a:ln w="635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7" name="Freeform 244"/>
            <p:cNvSpPr>
              <a:spLocks/>
            </p:cNvSpPr>
            <p:nvPr/>
          </p:nvSpPr>
          <p:spPr bwMode="auto">
            <a:xfrm>
              <a:off x="1596" y="1949"/>
              <a:ext cx="63" cy="62"/>
            </a:xfrm>
            <a:custGeom>
              <a:avLst/>
              <a:gdLst>
                <a:gd name="T0" fmla="*/ 0 w 2629"/>
                <a:gd name="T1" fmla="*/ 0 h 2691"/>
                <a:gd name="T2" fmla="*/ 0 w 2629"/>
                <a:gd name="T3" fmla="*/ 0 h 2691"/>
                <a:gd name="T4" fmla="*/ 0 w 2629"/>
                <a:gd name="T5" fmla="*/ 0 h 2691"/>
                <a:gd name="T6" fmla="*/ 0 w 2629"/>
                <a:gd name="T7" fmla="*/ 0 h 2691"/>
                <a:gd name="T8" fmla="*/ 0 w 2629"/>
                <a:gd name="T9" fmla="*/ 0 h 2691"/>
                <a:gd name="T10" fmla="*/ 0 w 2629"/>
                <a:gd name="T11" fmla="*/ 0 h 2691"/>
                <a:gd name="T12" fmla="*/ 0 w 2629"/>
                <a:gd name="T13" fmla="*/ 0 h 2691"/>
                <a:gd name="T14" fmla="*/ 0 w 2629"/>
                <a:gd name="T15" fmla="*/ 0 h 2691"/>
                <a:gd name="T16" fmla="*/ 0 w 2629"/>
                <a:gd name="T17" fmla="*/ 0 h 2691"/>
                <a:gd name="T18" fmla="*/ 0 w 2629"/>
                <a:gd name="T19" fmla="*/ 0 h 2691"/>
                <a:gd name="T20" fmla="*/ 0 w 2629"/>
                <a:gd name="T21" fmla="*/ 0 h 2691"/>
                <a:gd name="T22" fmla="*/ 0 w 2629"/>
                <a:gd name="T23" fmla="*/ 0 h 2691"/>
                <a:gd name="T24" fmla="*/ 0 w 2629"/>
                <a:gd name="T25" fmla="*/ 0 h 2691"/>
                <a:gd name="T26" fmla="*/ 0 w 2629"/>
                <a:gd name="T27" fmla="*/ 0 h 2691"/>
                <a:gd name="T28" fmla="*/ 0 w 2629"/>
                <a:gd name="T29" fmla="*/ 0 h 2691"/>
                <a:gd name="T30" fmla="*/ 0 w 2629"/>
                <a:gd name="T31" fmla="*/ 0 h 2691"/>
                <a:gd name="T32" fmla="*/ 0 w 2629"/>
                <a:gd name="T33" fmla="*/ 0 h 2691"/>
                <a:gd name="T34" fmla="*/ 0 w 2629"/>
                <a:gd name="T35" fmla="*/ 0 h 2691"/>
                <a:gd name="T36" fmla="*/ 0 w 2629"/>
                <a:gd name="T37" fmla="*/ 0 h 2691"/>
                <a:gd name="T38" fmla="*/ 0 w 2629"/>
                <a:gd name="T39" fmla="*/ 0 h 2691"/>
                <a:gd name="T40" fmla="*/ 0 w 2629"/>
                <a:gd name="T41" fmla="*/ 0 h 2691"/>
                <a:gd name="T42" fmla="*/ 0 w 2629"/>
                <a:gd name="T43" fmla="*/ 0 h 2691"/>
                <a:gd name="T44" fmla="*/ 0 w 2629"/>
                <a:gd name="T45" fmla="*/ 0 h 2691"/>
                <a:gd name="T46" fmla="*/ 0 w 2629"/>
                <a:gd name="T47" fmla="*/ 0 h 2691"/>
                <a:gd name="T48" fmla="*/ 0 w 2629"/>
                <a:gd name="T49" fmla="*/ 0 h 2691"/>
                <a:gd name="T50" fmla="*/ 0 w 2629"/>
                <a:gd name="T51" fmla="*/ 0 h 2691"/>
                <a:gd name="T52" fmla="*/ 0 w 2629"/>
                <a:gd name="T53" fmla="*/ 0 h 2691"/>
                <a:gd name="T54" fmla="*/ 0 w 2629"/>
                <a:gd name="T55" fmla="*/ 0 h 2691"/>
                <a:gd name="T56" fmla="*/ 0 w 2629"/>
                <a:gd name="T57" fmla="*/ 0 h 2691"/>
                <a:gd name="T58" fmla="*/ 0 w 2629"/>
                <a:gd name="T59" fmla="*/ 0 h 2691"/>
                <a:gd name="T60" fmla="*/ 0 w 2629"/>
                <a:gd name="T61" fmla="*/ 0 h 2691"/>
                <a:gd name="T62" fmla="*/ 0 w 2629"/>
                <a:gd name="T63" fmla="*/ 0 h 2691"/>
                <a:gd name="T64" fmla="*/ 0 w 2629"/>
                <a:gd name="T65" fmla="*/ 0 h 2691"/>
                <a:gd name="T66" fmla="*/ 0 w 2629"/>
                <a:gd name="T67" fmla="*/ 0 h 2691"/>
                <a:gd name="T68" fmla="*/ 0 w 2629"/>
                <a:gd name="T69" fmla="*/ 0 h 2691"/>
                <a:gd name="T70" fmla="*/ 0 w 2629"/>
                <a:gd name="T71" fmla="*/ 0 h 2691"/>
                <a:gd name="T72" fmla="*/ 0 w 2629"/>
                <a:gd name="T73" fmla="*/ 0 h 2691"/>
                <a:gd name="T74" fmla="*/ 0 w 2629"/>
                <a:gd name="T75" fmla="*/ 0 h 2691"/>
                <a:gd name="T76" fmla="*/ 0 w 2629"/>
                <a:gd name="T77" fmla="*/ 0 h 2691"/>
                <a:gd name="T78" fmla="*/ 0 w 2629"/>
                <a:gd name="T79" fmla="*/ 0 h 2691"/>
                <a:gd name="T80" fmla="*/ 0 w 2629"/>
                <a:gd name="T81" fmla="*/ 0 h 2691"/>
                <a:gd name="T82" fmla="*/ 0 w 2629"/>
                <a:gd name="T83" fmla="*/ 0 h 2691"/>
                <a:gd name="T84" fmla="*/ 0 w 2629"/>
                <a:gd name="T85" fmla="*/ 0 h 2691"/>
                <a:gd name="T86" fmla="*/ 0 w 2629"/>
                <a:gd name="T87" fmla="*/ 0 h 2691"/>
                <a:gd name="T88" fmla="*/ 0 w 2629"/>
                <a:gd name="T89" fmla="*/ 0 h 2691"/>
                <a:gd name="T90" fmla="*/ 0 w 2629"/>
                <a:gd name="T91" fmla="*/ 0 h 2691"/>
                <a:gd name="T92" fmla="*/ 0 w 2629"/>
                <a:gd name="T93" fmla="*/ 0 h 2691"/>
                <a:gd name="T94" fmla="*/ 0 w 2629"/>
                <a:gd name="T95" fmla="*/ 0 h 2691"/>
                <a:gd name="T96" fmla="*/ 0 w 2629"/>
                <a:gd name="T97" fmla="*/ 0 h 2691"/>
                <a:gd name="T98" fmla="*/ 0 w 2629"/>
                <a:gd name="T99" fmla="*/ 0 h 2691"/>
                <a:gd name="T100" fmla="*/ 0 w 2629"/>
                <a:gd name="T101" fmla="*/ 0 h 2691"/>
                <a:gd name="T102" fmla="*/ 0 w 2629"/>
                <a:gd name="T103" fmla="*/ 0 h 2691"/>
                <a:gd name="T104" fmla="*/ 0 w 2629"/>
                <a:gd name="T105" fmla="*/ 0 h 2691"/>
                <a:gd name="T106" fmla="*/ 0 w 2629"/>
                <a:gd name="T107" fmla="*/ 0 h 2691"/>
                <a:gd name="T108" fmla="*/ 0 w 2629"/>
                <a:gd name="T109" fmla="*/ 0 h 2691"/>
                <a:gd name="T110" fmla="*/ 0 w 2629"/>
                <a:gd name="T111" fmla="*/ 0 h 2691"/>
                <a:gd name="T112" fmla="*/ 0 w 2629"/>
                <a:gd name="T113" fmla="*/ 0 h 2691"/>
                <a:gd name="T114" fmla="*/ 0 w 2629"/>
                <a:gd name="T115" fmla="*/ 0 h 269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629"/>
                <a:gd name="T175" fmla="*/ 0 h 2691"/>
                <a:gd name="T176" fmla="*/ 2629 w 2629"/>
                <a:gd name="T177" fmla="*/ 2691 h 269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629" h="2691">
                  <a:moveTo>
                    <a:pt x="79" y="1862"/>
                  </a:moveTo>
                  <a:lnTo>
                    <a:pt x="47" y="1887"/>
                  </a:lnTo>
                  <a:lnTo>
                    <a:pt x="24" y="1909"/>
                  </a:lnTo>
                  <a:lnTo>
                    <a:pt x="9" y="1927"/>
                  </a:lnTo>
                  <a:lnTo>
                    <a:pt x="1" y="1941"/>
                  </a:lnTo>
                  <a:lnTo>
                    <a:pt x="0" y="1955"/>
                  </a:lnTo>
                  <a:lnTo>
                    <a:pt x="6" y="1964"/>
                  </a:lnTo>
                  <a:lnTo>
                    <a:pt x="17" y="1972"/>
                  </a:lnTo>
                  <a:lnTo>
                    <a:pt x="33" y="1979"/>
                  </a:lnTo>
                  <a:lnTo>
                    <a:pt x="53" y="1984"/>
                  </a:lnTo>
                  <a:lnTo>
                    <a:pt x="78" y="1989"/>
                  </a:lnTo>
                  <a:lnTo>
                    <a:pt x="105" y="1993"/>
                  </a:lnTo>
                  <a:lnTo>
                    <a:pt x="135" y="1997"/>
                  </a:lnTo>
                  <a:lnTo>
                    <a:pt x="167" y="2003"/>
                  </a:lnTo>
                  <a:lnTo>
                    <a:pt x="201" y="2008"/>
                  </a:lnTo>
                  <a:lnTo>
                    <a:pt x="235" y="2015"/>
                  </a:lnTo>
                  <a:lnTo>
                    <a:pt x="270" y="2023"/>
                  </a:lnTo>
                  <a:lnTo>
                    <a:pt x="304" y="2033"/>
                  </a:lnTo>
                  <a:lnTo>
                    <a:pt x="336" y="2046"/>
                  </a:lnTo>
                  <a:lnTo>
                    <a:pt x="368" y="2062"/>
                  </a:lnTo>
                  <a:lnTo>
                    <a:pt x="397" y="2080"/>
                  </a:lnTo>
                  <a:lnTo>
                    <a:pt x="423" y="2103"/>
                  </a:lnTo>
                  <a:lnTo>
                    <a:pt x="445" y="2129"/>
                  </a:lnTo>
                  <a:lnTo>
                    <a:pt x="464" y="2160"/>
                  </a:lnTo>
                  <a:lnTo>
                    <a:pt x="477" y="2194"/>
                  </a:lnTo>
                  <a:lnTo>
                    <a:pt x="486" y="2234"/>
                  </a:lnTo>
                  <a:lnTo>
                    <a:pt x="488" y="2280"/>
                  </a:lnTo>
                  <a:lnTo>
                    <a:pt x="484" y="2332"/>
                  </a:lnTo>
                  <a:lnTo>
                    <a:pt x="473" y="2389"/>
                  </a:lnTo>
                  <a:lnTo>
                    <a:pt x="454" y="2455"/>
                  </a:lnTo>
                  <a:lnTo>
                    <a:pt x="427" y="2526"/>
                  </a:lnTo>
                  <a:lnTo>
                    <a:pt x="391" y="2605"/>
                  </a:lnTo>
                  <a:lnTo>
                    <a:pt x="345" y="2691"/>
                  </a:lnTo>
                  <a:lnTo>
                    <a:pt x="372" y="2673"/>
                  </a:lnTo>
                  <a:lnTo>
                    <a:pt x="446" y="2619"/>
                  </a:lnTo>
                  <a:lnTo>
                    <a:pt x="562" y="2535"/>
                  </a:lnTo>
                  <a:lnTo>
                    <a:pt x="713" y="2425"/>
                  </a:lnTo>
                  <a:lnTo>
                    <a:pt x="798" y="2361"/>
                  </a:lnTo>
                  <a:lnTo>
                    <a:pt x="890" y="2292"/>
                  </a:lnTo>
                  <a:lnTo>
                    <a:pt x="987" y="2219"/>
                  </a:lnTo>
                  <a:lnTo>
                    <a:pt x="1088" y="2141"/>
                  </a:lnTo>
                  <a:lnTo>
                    <a:pt x="1192" y="2061"/>
                  </a:lnTo>
                  <a:lnTo>
                    <a:pt x="1298" y="1977"/>
                  </a:lnTo>
                  <a:lnTo>
                    <a:pt x="1407" y="1891"/>
                  </a:lnTo>
                  <a:lnTo>
                    <a:pt x="1515" y="1803"/>
                  </a:lnTo>
                  <a:lnTo>
                    <a:pt x="1624" y="1714"/>
                  </a:lnTo>
                  <a:lnTo>
                    <a:pt x="1731" y="1623"/>
                  </a:lnTo>
                  <a:lnTo>
                    <a:pt x="1837" y="1532"/>
                  </a:lnTo>
                  <a:lnTo>
                    <a:pt x="1940" y="1442"/>
                  </a:lnTo>
                  <a:lnTo>
                    <a:pt x="2038" y="1353"/>
                  </a:lnTo>
                  <a:lnTo>
                    <a:pt x="2133" y="1264"/>
                  </a:lnTo>
                  <a:lnTo>
                    <a:pt x="2221" y="1177"/>
                  </a:lnTo>
                  <a:lnTo>
                    <a:pt x="2304" y="1092"/>
                  </a:lnTo>
                  <a:lnTo>
                    <a:pt x="2379" y="1011"/>
                  </a:lnTo>
                  <a:lnTo>
                    <a:pt x="2446" y="932"/>
                  </a:lnTo>
                  <a:lnTo>
                    <a:pt x="2504" y="857"/>
                  </a:lnTo>
                  <a:lnTo>
                    <a:pt x="2553" y="786"/>
                  </a:lnTo>
                  <a:lnTo>
                    <a:pt x="2590" y="721"/>
                  </a:lnTo>
                  <a:lnTo>
                    <a:pt x="2616" y="661"/>
                  </a:lnTo>
                  <a:lnTo>
                    <a:pt x="2629" y="607"/>
                  </a:lnTo>
                  <a:lnTo>
                    <a:pt x="2629" y="559"/>
                  </a:lnTo>
                  <a:lnTo>
                    <a:pt x="2621" y="515"/>
                  </a:lnTo>
                  <a:lnTo>
                    <a:pt x="2613" y="473"/>
                  </a:lnTo>
                  <a:lnTo>
                    <a:pt x="2604" y="431"/>
                  </a:lnTo>
                  <a:lnTo>
                    <a:pt x="2594" y="393"/>
                  </a:lnTo>
                  <a:lnTo>
                    <a:pt x="2583" y="355"/>
                  </a:lnTo>
                  <a:lnTo>
                    <a:pt x="2571" y="318"/>
                  </a:lnTo>
                  <a:lnTo>
                    <a:pt x="2558" y="283"/>
                  </a:lnTo>
                  <a:lnTo>
                    <a:pt x="2545" y="250"/>
                  </a:lnTo>
                  <a:lnTo>
                    <a:pt x="2530" y="219"/>
                  </a:lnTo>
                  <a:lnTo>
                    <a:pt x="2515" y="190"/>
                  </a:lnTo>
                  <a:lnTo>
                    <a:pt x="2498" y="162"/>
                  </a:lnTo>
                  <a:lnTo>
                    <a:pt x="2481" y="135"/>
                  </a:lnTo>
                  <a:lnTo>
                    <a:pt x="2463" y="112"/>
                  </a:lnTo>
                  <a:lnTo>
                    <a:pt x="2445" y="91"/>
                  </a:lnTo>
                  <a:lnTo>
                    <a:pt x="2425" y="71"/>
                  </a:lnTo>
                  <a:lnTo>
                    <a:pt x="2404" y="54"/>
                  </a:lnTo>
                  <a:lnTo>
                    <a:pt x="2382" y="40"/>
                  </a:lnTo>
                  <a:lnTo>
                    <a:pt x="2360" y="26"/>
                  </a:lnTo>
                  <a:lnTo>
                    <a:pt x="2336" y="16"/>
                  </a:lnTo>
                  <a:lnTo>
                    <a:pt x="2312" y="8"/>
                  </a:lnTo>
                  <a:lnTo>
                    <a:pt x="2286" y="3"/>
                  </a:lnTo>
                  <a:lnTo>
                    <a:pt x="2260" y="0"/>
                  </a:lnTo>
                  <a:lnTo>
                    <a:pt x="2233" y="0"/>
                  </a:lnTo>
                  <a:lnTo>
                    <a:pt x="2204" y="2"/>
                  </a:lnTo>
                  <a:lnTo>
                    <a:pt x="2175" y="7"/>
                  </a:lnTo>
                  <a:lnTo>
                    <a:pt x="2145" y="15"/>
                  </a:lnTo>
                  <a:lnTo>
                    <a:pt x="2114" y="26"/>
                  </a:lnTo>
                  <a:lnTo>
                    <a:pt x="2082" y="40"/>
                  </a:lnTo>
                  <a:lnTo>
                    <a:pt x="2049" y="56"/>
                  </a:lnTo>
                  <a:lnTo>
                    <a:pt x="2015" y="75"/>
                  </a:lnTo>
                  <a:lnTo>
                    <a:pt x="1980" y="99"/>
                  </a:lnTo>
                  <a:lnTo>
                    <a:pt x="1944" y="124"/>
                  </a:lnTo>
                  <a:lnTo>
                    <a:pt x="1889" y="166"/>
                  </a:lnTo>
                  <a:lnTo>
                    <a:pt x="1834" y="211"/>
                  </a:lnTo>
                  <a:lnTo>
                    <a:pt x="1777" y="258"/>
                  </a:lnTo>
                  <a:lnTo>
                    <a:pt x="1721" y="306"/>
                  </a:lnTo>
                  <a:lnTo>
                    <a:pt x="1664" y="357"/>
                  </a:lnTo>
                  <a:lnTo>
                    <a:pt x="1606" y="409"/>
                  </a:lnTo>
                  <a:lnTo>
                    <a:pt x="1548" y="463"/>
                  </a:lnTo>
                  <a:lnTo>
                    <a:pt x="1489" y="518"/>
                  </a:lnTo>
                  <a:lnTo>
                    <a:pt x="1371" y="632"/>
                  </a:lnTo>
                  <a:lnTo>
                    <a:pt x="1252" y="750"/>
                  </a:lnTo>
                  <a:lnTo>
                    <a:pt x="1132" y="870"/>
                  </a:lnTo>
                  <a:lnTo>
                    <a:pt x="1012" y="991"/>
                  </a:lnTo>
                  <a:lnTo>
                    <a:pt x="892" y="1114"/>
                  </a:lnTo>
                  <a:lnTo>
                    <a:pt x="772" y="1234"/>
                  </a:lnTo>
                  <a:lnTo>
                    <a:pt x="653" y="1352"/>
                  </a:lnTo>
                  <a:lnTo>
                    <a:pt x="535" y="1466"/>
                  </a:lnTo>
                  <a:lnTo>
                    <a:pt x="476" y="1521"/>
                  </a:lnTo>
                  <a:lnTo>
                    <a:pt x="418" y="1575"/>
                  </a:lnTo>
                  <a:lnTo>
                    <a:pt x="360" y="1628"/>
                  </a:lnTo>
                  <a:lnTo>
                    <a:pt x="302" y="1679"/>
                  </a:lnTo>
                  <a:lnTo>
                    <a:pt x="245" y="1728"/>
                  </a:lnTo>
                  <a:lnTo>
                    <a:pt x="189" y="1775"/>
                  </a:lnTo>
                  <a:lnTo>
                    <a:pt x="134" y="1820"/>
                  </a:lnTo>
                  <a:lnTo>
                    <a:pt x="79" y="18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8" name="Freeform 245"/>
            <p:cNvSpPr>
              <a:spLocks/>
            </p:cNvSpPr>
            <p:nvPr/>
          </p:nvSpPr>
          <p:spPr bwMode="auto">
            <a:xfrm>
              <a:off x="1596" y="1949"/>
              <a:ext cx="63" cy="62"/>
            </a:xfrm>
            <a:custGeom>
              <a:avLst/>
              <a:gdLst>
                <a:gd name="T0" fmla="*/ 0 w 2629"/>
                <a:gd name="T1" fmla="*/ 0 h 2691"/>
                <a:gd name="T2" fmla="*/ 0 w 2629"/>
                <a:gd name="T3" fmla="*/ 0 h 2691"/>
                <a:gd name="T4" fmla="*/ 0 w 2629"/>
                <a:gd name="T5" fmla="*/ 0 h 2691"/>
                <a:gd name="T6" fmla="*/ 0 w 2629"/>
                <a:gd name="T7" fmla="*/ 0 h 2691"/>
                <a:gd name="T8" fmla="*/ 0 w 2629"/>
                <a:gd name="T9" fmla="*/ 0 h 2691"/>
                <a:gd name="T10" fmla="*/ 0 w 2629"/>
                <a:gd name="T11" fmla="*/ 0 h 2691"/>
                <a:gd name="T12" fmla="*/ 0 w 2629"/>
                <a:gd name="T13" fmla="*/ 0 h 2691"/>
                <a:gd name="T14" fmla="*/ 0 w 2629"/>
                <a:gd name="T15" fmla="*/ 0 h 2691"/>
                <a:gd name="T16" fmla="*/ 0 w 2629"/>
                <a:gd name="T17" fmla="*/ 0 h 2691"/>
                <a:gd name="T18" fmla="*/ 0 w 2629"/>
                <a:gd name="T19" fmla="*/ 0 h 2691"/>
                <a:gd name="T20" fmla="*/ 0 w 2629"/>
                <a:gd name="T21" fmla="*/ 0 h 2691"/>
                <a:gd name="T22" fmla="*/ 0 w 2629"/>
                <a:gd name="T23" fmla="*/ 0 h 2691"/>
                <a:gd name="T24" fmla="*/ 0 w 2629"/>
                <a:gd name="T25" fmla="*/ 0 h 2691"/>
                <a:gd name="T26" fmla="*/ 0 w 2629"/>
                <a:gd name="T27" fmla="*/ 0 h 2691"/>
                <a:gd name="T28" fmla="*/ 0 w 2629"/>
                <a:gd name="T29" fmla="*/ 0 h 2691"/>
                <a:gd name="T30" fmla="*/ 0 w 2629"/>
                <a:gd name="T31" fmla="*/ 0 h 2691"/>
                <a:gd name="T32" fmla="*/ 0 w 2629"/>
                <a:gd name="T33" fmla="*/ 0 h 2691"/>
                <a:gd name="T34" fmla="*/ 0 w 2629"/>
                <a:gd name="T35" fmla="*/ 0 h 2691"/>
                <a:gd name="T36" fmla="*/ 0 w 2629"/>
                <a:gd name="T37" fmla="*/ 0 h 2691"/>
                <a:gd name="T38" fmla="*/ 0 w 2629"/>
                <a:gd name="T39" fmla="*/ 0 h 2691"/>
                <a:gd name="T40" fmla="*/ 0 w 2629"/>
                <a:gd name="T41" fmla="*/ 0 h 2691"/>
                <a:gd name="T42" fmla="*/ 0 w 2629"/>
                <a:gd name="T43" fmla="*/ 0 h 2691"/>
                <a:gd name="T44" fmla="*/ 0 w 2629"/>
                <a:gd name="T45" fmla="*/ 0 h 2691"/>
                <a:gd name="T46" fmla="*/ 0 w 2629"/>
                <a:gd name="T47" fmla="*/ 0 h 2691"/>
                <a:gd name="T48" fmla="*/ 0 w 2629"/>
                <a:gd name="T49" fmla="*/ 0 h 2691"/>
                <a:gd name="T50" fmla="*/ 0 w 2629"/>
                <a:gd name="T51" fmla="*/ 0 h 2691"/>
                <a:gd name="T52" fmla="*/ 0 w 2629"/>
                <a:gd name="T53" fmla="*/ 0 h 2691"/>
                <a:gd name="T54" fmla="*/ 0 w 2629"/>
                <a:gd name="T55" fmla="*/ 0 h 2691"/>
                <a:gd name="T56" fmla="*/ 0 w 2629"/>
                <a:gd name="T57" fmla="*/ 0 h 2691"/>
                <a:gd name="T58" fmla="*/ 0 w 2629"/>
                <a:gd name="T59" fmla="*/ 0 h 2691"/>
                <a:gd name="T60" fmla="*/ 0 w 2629"/>
                <a:gd name="T61" fmla="*/ 0 h 2691"/>
                <a:gd name="T62" fmla="*/ 0 w 2629"/>
                <a:gd name="T63" fmla="*/ 0 h 2691"/>
                <a:gd name="T64" fmla="*/ 0 w 2629"/>
                <a:gd name="T65" fmla="*/ 0 h 2691"/>
                <a:gd name="T66" fmla="*/ 0 w 2629"/>
                <a:gd name="T67" fmla="*/ 0 h 2691"/>
                <a:gd name="T68" fmla="*/ 0 w 2629"/>
                <a:gd name="T69" fmla="*/ 0 h 2691"/>
                <a:gd name="T70" fmla="*/ 0 w 2629"/>
                <a:gd name="T71" fmla="*/ 0 h 2691"/>
                <a:gd name="T72" fmla="*/ 0 w 2629"/>
                <a:gd name="T73" fmla="*/ 0 h 2691"/>
                <a:gd name="T74" fmla="*/ 0 w 2629"/>
                <a:gd name="T75" fmla="*/ 0 h 2691"/>
                <a:gd name="T76" fmla="*/ 0 w 2629"/>
                <a:gd name="T77" fmla="*/ 0 h 2691"/>
                <a:gd name="T78" fmla="*/ 0 w 2629"/>
                <a:gd name="T79" fmla="*/ 0 h 2691"/>
                <a:gd name="T80" fmla="*/ 0 w 2629"/>
                <a:gd name="T81" fmla="*/ 0 h 2691"/>
                <a:gd name="T82" fmla="*/ 0 w 2629"/>
                <a:gd name="T83" fmla="*/ 0 h 2691"/>
                <a:gd name="T84" fmla="*/ 0 w 2629"/>
                <a:gd name="T85" fmla="*/ 0 h 2691"/>
                <a:gd name="T86" fmla="*/ 0 w 2629"/>
                <a:gd name="T87" fmla="*/ 0 h 2691"/>
                <a:gd name="T88" fmla="*/ 0 w 2629"/>
                <a:gd name="T89" fmla="*/ 0 h 2691"/>
                <a:gd name="T90" fmla="*/ 0 w 2629"/>
                <a:gd name="T91" fmla="*/ 0 h 2691"/>
                <a:gd name="T92" fmla="*/ 0 w 2629"/>
                <a:gd name="T93" fmla="*/ 0 h 2691"/>
                <a:gd name="T94" fmla="*/ 0 w 2629"/>
                <a:gd name="T95" fmla="*/ 0 h 2691"/>
                <a:gd name="T96" fmla="*/ 0 w 2629"/>
                <a:gd name="T97" fmla="*/ 0 h 2691"/>
                <a:gd name="T98" fmla="*/ 0 w 2629"/>
                <a:gd name="T99" fmla="*/ 0 h 2691"/>
                <a:gd name="T100" fmla="*/ 0 w 2629"/>
                <a:gd name="T101" fmla="*/ 0 h 2691"/>
                <a:gd name="T102" fmla="*/ 0 w 2629"/>
                <a:gd name="T103" fmla="*/ 0 h 2691"/>
                <a:gd name="T104" fmla="*/ 0 w 2629"/>
                <a:gd name="T105" fmla="*/ 0 h 2691"/>
                <a:gd name="T106" fmla="*/ 0 w 2629"/>
                <a:gd name="T107" fmla="*/ 0 h 2691"/>
                <a:gd name="T108" fmla="*/ 0 w 2629"/>
                <a:gd name="T109" fmla="*/ 0 h 2691"/>
                <a:gd name="T110" fmla="*/ 0 w 2629"/>
                <a:gd name="T111" fmla="*/ 0 h 2691"/>
                <a:gd name="T112" fmla="*/ 0 w 2629"/>
                <a:gd name="T113" fmla="*/ 0 h 2691"/>
                <a:gd name="T114" fmla="*/ 0 w 2629"/>
                <a:gd name="T115" fmla="*/ 0 h 269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629"/>
                <a:gd name="T175" fmla="*/ 0 h 2691"/>
                <a:gd name="T176" fmla="*/ 2629 w 2629"/>
                <a:gd name="T177" fmla="*/ 2691 h 269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629" h="2691">
                  <a:moveTo>
                    <a:pt x="79" y="1862"/>
                  </a:moveTo>
                  <a:lnTo>
                    <a:pt x="47" y="1887"/>
                  </a:lnTo>
                  <a:lnTo>
                    <a:pt x="24" y="1909"/>
                  </a:lnTo>
                  <a:lnTo>
                    <a:pt x="9" y="1927"/>
                  </a:lnTo>
                  <a:lnTo>
                    <a:pt x="1" y="1941"/>
                  </a:lnTo>
                  <a:lnTo>
                    <a:pt x="0" y="1955"/>
                  </a:lnTo>
                  <a:lnTo>
                    <a:pt x="6" y="1964"/>
                  </a:lnTo>
                  <a:lnTo>
                    <a:pt x="17" y="1972"/>
                  </a:lnTo>
                  <a:lnTo>
                    <a:pt x="33" y="1979"/>
                  </a:lnTo>
                  <a:lnTo>
                    <a:pt x="53" y="1984"/>
                  </a:lnTo>
                  <a:lnTo>
                    <a:pt x="78" y="1989"/>
                  </a:lnTo>
                  <a:lnTo>
                    <a:pt x="105" y="1993"/>
                  </a:lnTo>
                  <a:lnTo>
                    <a:pt x="135" y="1997"/>
                  </a:lnTo>
                  <a:lnTo>
                    <a:pt x="167" y="2003"/>
                  </a:lnTo>
                  <a:lnTo>
                    <a:pt x="201" y="2008"/>
                  </a:lnTo>
                  <a:lnTo>
                    <a:pt x="235" y="2015"/>
                  </a:lnTo>
                  <a:lnTo>
                    <a:pt x="270" y="2023"/>
                  </a:lnTo>
                  <a:lnTo>
                    <a:pt x="304" y="2033"/>
                  </a:lnTo>
                  <a:lnTo>
                    <a:pt x="336" y="2046"/>
                  </a:lnTo>
                  <a:lnTo>
                    <a:pt x="368" y="2062"/>
                  </a:lnTo>
                  <a:lnTo>
                    <a:pt x="397" y="2080"/>
                  </a:lnTo>
                  <a:lnTo>
                    <a:pt x="423" y="2103"/>
                  </a:lnTo>
                  <a:lnTo>
                    <a:pt x="445" y="2129"/>
                  </a:lnTo>
                  <a:lnTo>
                    <a:pt x="464" y="2160"/>
                  </a:lnTo>
                  <a:lnTo>
                    <a:pt x="477" y="2194"/>
                  </a:lnTo>
                  <a:lnTo>
                    <a:pt x="486" y="2234"/>
                  </a:lnTo>
                  <a:lnTo>
                    <a:pt x="488" y="2280"/>
                  </a:lnTo>
                  <a:lnTo>
                    <a:pt x="484" y="2332"/>
                  </a:lnTo>
                  <a:lnTo>
                    <a:pt x="473" y="2389"/>
                  </a:lnTo>
                  <a:lnTo>
                    <a:pt x="454" y="2455"/>
                  </a:lnTo>
                  <a:lnTo>
                    <a:pt x="427" y="2526"/>
                  </a:lnTo>
                  <a:lnTo>
                    <a:pt x="391" y="2605"/>
                  </a:lnTo>
                  <a:lnTo>
                    <a:pt x="345" y="2691"/>
                  </a:lnTo>
                  <a:lnTo>
                    <a:pt x="372" y="2673"/>
                  </a:lnTo>
                  <a:lnTo>
                    <a:pt x="446" y="2619"/>
                  </a:lnTo>
                  <a:lnTo>
                    <a:pt x="562" y="2535"/>
                  </a:lnTo>
                  <a:lnTo>
                    <a:pt x="713" y="2425"/>
                  </a:lnTo>
                  <a:lnTo>
                    <a:pt x="798" y="2361"/>
                  </a:lnTo>
                  <a:lnTo>
                    <a:pt x="890" y="2292"/>
                  </a:lnTo>
                  <a:lnTo>
                    <a:pt x="987" y="2219"/>
                  </a:lnTo>
                  <a:lnTo>
                    <a:pt x="1088" y="2141"/>
                  </a:lnTo>
                  <a:lnTo>
                    <a:pt x="1192" y="2061"/>
                  </a:lnTo>
                  <a:lnTo>
                    <a:pt x="1298" y="1977"/>
                  </a:lnTo>
                  <a:lnTo>
                    <a:pt x="1407" y="1891"/>
                  </a:lnTo>
                  <a:lnTo>
                    <a:pt x="1515" y="1803"/>
                  </a:lnTo>
                  <a:lnTo>
                    <a:pt x="1624" y="1714"/>
                  </a:lnTo>
                  <a:lnTo>
                    <a:pt x="1731" y="1623"/>
                  </a:lnTo>
                  <a:lnTo>
                    <a:pt x="1837" y="1532"/>
                  </a:lnTo>
                  <a:lnTo>
                    <a:pt x="1940" y="1442"/>
                  </a:lnTo>
                  <a:lnTo>
                    <a:pt x="2038" y="1353"/>
                  </a:lnTo>
                  <a:lnTo>
                    <a:pt x="2133" y="1264"/>
                  </a:lnTo>
                  <a:lnTo>
                    <a:pt x="2221" y="1177"/>
                  </a:lnTo>
                  <a:lnTo>
                    <a:pt x="2304" y="1092"/>
                  </a:lnTo>
                  <a:lnTo>
                    <a:pt x="2379" y="1011"/>
                  </a:lnTo>
                  <a:lnTo>
                    <a:pt x="2446" y="932"/>
                  </a:lnTo>
                  <a:lnTo>
                    <a:pt x="2504" y="857"/>
                  </a:lnTo>
                  <a:lnTo>
                    <a:pt x="2553" y="786"/>
                  </a:lnTo>
                  <a:lnTo>
                    <a:pt x="2590" y="721"/>
                  </a:lnTo>
                  <a:lnTo>
                    <a:pt x="2616" y="661"/>
                  </a:lnTo>
                  <a:lnTo>
                    <a:pt x="2629" y="607"/>
                  </a:lnTo>
                  <a:lnTo>
                    <a:pt x="2629" y="559"/>
                  </a:lnTo>
                  <a:lnTo>
                    <a:pt x="2621" y="515"/>
                  </a:lnTo>
                  <a:lnTo>
                    <a:pt x="2613" y="473"/>
                  </a:lnTo>
                  <a:lnTo>
                    <a:pt x="2604" y="431"/>
                  </a:lnTo>
                  <a:lnTo>
                    <a:pt x="2594" y="393"/>
                  </a:lnTo>
                  <a:lnTo>
                    <a:pt x="2583" y="355"/>
                  </a:lnTo>
                  <a:lnTo>
                    <a:pt x="2571" y="318"/>
                  </a:lnTo>
                  <a:lnTo>
                    <a:pt x="2558" y="283"/>
                  </a:lnTo>
                  <a:lnTo>
                    <a:pt x="2545" y="250"/>
                  </a:lnTo>
                  <a:lnTo>
                    <a:pt x="2530" y="219"/>
                  </a:lnTo>
                  <a:lnTo>
                    <a:pt x="2515" y="190"/>
                  </a:lnTo>
                  <a:lnTo>
                    <a:pt x="2498" y="162"/>
                  </a:lnTo>
                  <a:lnTo>
                    <a:pt x="2481" y="135"/>
                  </a:lnTo>
                  <a:lnTo>
                    <a:pt x="2463" y="112"/>
                  </a:lnTo>
                  <a:lnTo>
                    <a:pt x="2445" y="91"/>
                  </a:lnTo>
                  <a:lnTo>
                    <a:pt x="2425" y="71"/>
                  </a:lnTo>
                  <a:lnTo>
                    <a:pt x="2404" y="54"/>
                  </a:lnTo>
                  <a:lnTo>
                    <a:pt x="2382" y="40"/>
                  </a:lnTo>
                  <a:lnTo>
                    <a:pt x="2360" y="26"/>
                  </a:lnTo>
                  <a:lnTo>
                    <a:pt x="2336" y="16"/>
                  </a:lnTo>
                  <a:lnTo>
                    <a:pt x="2312" y="8"/>
                  </a:lnTo>
                  <a:lnTo>
                    <a:pt x="2286" y="3"/>
                  </a:lnTo>
                  <a:lnTo>
                    <a:pt x="2260" y="0"/>
                  </a:lnTo>
                  <a:lnTo>
                    <a:pt x="2233" y="0"/>
                  </a:lnTo>
                  <a:lnTo>
                    <a:pt x="2204" y="2"/>
                  </a:lnTo>
                  <a:lnTo>
                    <a:pt x="2175" y="7"/>
                  </a:lnTo>
                  <a:lnTo>
                    <a:pt x="2145" y="15"/>
                  </a:lnTo>
                  <a:lnTo>
                    <a:pt x="2114" y="26"/>
                  </a:lnTo>
                  <a:lnTo>
                    <a:pt x="2082" y="40"/>
                  </a:lnTo>
                  <a:lnTo>
                    <a:pt x="2049" y="56"/>
                  </a:lnTo>
                  <a:lnTo>
                    <a:pt x="2015" y="75"/>
                  </a:lnTo>
                  <a:lnTo>
                    <a:pt x="1980" y="99"/>
                  </a:lnTo>
                  <a:lnTo>
                    <a:pt x="1944" y="124"/>
                  </a:lnTo>
                  <a:lnTo>
                    <a:pt x="1889" y="166"/>
                  </a:lnTo>
                  <a:lnTo>
                    <a:pt x="1834" y="211"/>
                  </a:lnTo>
                  <a:lnTo>
                    <a:pt x="1777" y="258"/>
                  </a:lnTo>
                  <a:lnTo>
                    <a:pt x="1721" y="306"/>
                  </a:lnTo>
                  <a:lnTo>
                    <a:pt x="1664" y="357"/>
                  </a:lnTo>
                  <a:lnTo>
                    <a:pt x="1606" y="409"/>
                  </a:lnTo>
                  <a:lnTo>
                    <a:pt x="1548" y="463"/>
                  </a:lnTo>
                  <a:lnTo>
                    <a:pt x="1489" y="518"/>
                  </a:lnTo>
                  <a:lnTo>
                    <a:pt x="1371" y="632"/>
                  </a:lnTo>
                  <a:lnTo>
                    <a:pt x="1252" y="750"/>
                  </a:lnTo>
                  <a:lnTo>
                    <a:pt x="1132" y="870"/>
                  </a:lnTo>
                  <a:lnTo>
                    <a:pt x="1012" y="991"/>
                  </a:lnTo>
                  <a:lnTo>
                    <a:pt x="892" y="1114"/>
                  </a:lnTo>
                  <a:lnTo>
                    <a:pt x="772" y="1234"/>
                  </a:lnTo>
                  <a:lnTo>
                    <a:pt x="653" y="1352"/>
                  </a:lnTo>
                  <a:lnTo>
                    <a:pt x="535" y="1466"/>
                  </a:lnTo>
                  <a:lnTo>
                    <a:pt x="476" y="1521"/>
                  </a:lnTo>
                  <a:lnTo>
                    <a:pt x="418" y="1575"/>
                  </a:lnTo>
                  <a:lnTo>
                    <a:pt x="360" y="1628"/>
                  </a:lnTo>
                  <a:lnTo>
                    <a:pt x="302" y="1679"/>
                  </a:lnTo>
                  <a:lnTo>
                    <a:pt x="245" y="1728"/>
                  </a:lnTo>
                  <a:lnTo>
                    <a:pt x="189" y="1775"/>
                  </a:lnTo>
                  <a:lnTo>
                    <a:pt x="134" y="1820"/>
                  </a:lnTo>
                  <a:lnTo>
                    <a:pt x="79" y="1862"/>
                  </a:lnTo>
                  <a:close/>
                </a:path>
              </a:pathLst>
            </a:custGeom>
            <a:noFill/>
            <a:ln w="4763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79" name="Freeform 246"/>
            <p:cNvSpPr>
              <a:spLocks/>
            </p:cNvSpPr>
            <p:nvPr/>
          </p:nvSpPr>
          <p:spPr bwMode="auto">
            <a:xfrm>
              <a:off x="1590" y="1994"/>
              <a:ext cx="17" cy="17"/>
            </a:xfrm>
            <a:custGeom>
              <a:avLst/>
              <a:gdLst>
                <a:gd name="T0" fmla="*/ 0 w 678"/>
                <a:gd name="T1" fmla="*/ 0 h 722"/>
                <a:gd name="T2" fmla="*/ 0 w 678"/>
                <a:gd name="T3" fmla="*/ 0 h 722"/>
                <a:gd name="T4" fmla="*/ 0 w 678"/>
                <a:gd name="T5" fmla="*/ 0 h 722"/>
                <a:gd name="T6" fmla="*/ 0 w 678"/>
                <a:gd name="T7" fmla="*/ 0 h 722"/>
                <a:gd name="T8" fmla="*/ 0 w 678"/>
                <a:gd name="T9" fmla="*/ 0 h 722"/>
                <a:gd name="T10" fmla="*/ 0 w 678"/>
                <a:gd name="T11" fmla="*/ 0 h 722"/>
                <a:gd name="T12" fmla="*/ 0 w 678"/>
                <a:gd name="T13" fmla="*/ 0 h 722"/>
                <a:gd name="T14" fmla="*/ 0 w 678"/>
                <a:gd name="T15" fmla="*/ 0 h 722"/>
                <a:gd name="T16" fmla="*/ 0 w 678"/>
                <a:gd name="T17" fmla="*/ 0 h 722"/>
                <a:gd name="T18" fmla="*/ 0 w 678"/>
                <a:gd name="T19" fmla="*/ 0 h 722"/>
                <a:gd name="T20" fmla="*/ 0 w 678"/>
                <a:gd name="T21" fmla="*/ 0 h 722"/>
                <a:gd name="T22" fmla="*/ 0 w 678"/>
                <a:gd name="T23" fmla="*/ 0 h 722"/>
                <a:gd name="T24" fmla="*/ 0 w 678"/>
                <a:gd name="T25" fmla="*/ 0 h 722"/>
                <a:gd name="T26" fmla="*/ 0 w 678"/>
                <a:gd name="T27" fmla="*/ 0 h 722"/>
                <a:gd name="T28" fmla="*/ 0 w 678"/>
                <a:gd name="T29" fmla="*/ 0 h 722"/>
                <a:gd name="T30" fmla="*/ 0 w 678"/>
                <a:gd name="T31" fmla="*/ 0 h 722"/>
                <a:gd name="T32" fmla="*/ 0 w 678"/>
                <a:gd name="T33" fmla="*/ 0 h 722"/>
                <a:gd name="T34" fmla="*/ 0 w 678"/>
                <a:gd name="T35" fmla="*/ 0 h 722"/>
                <a:gd name="T36" fmla="*/ 0 w 678"/>
                <a:gd name="T37" fmla="*/ 0 h 722"/>
                <a:gd name="T38" fmla="*/ 0 w 678"/>
                <a:gd name="T39" fmla="*/ 0 h 722"/>
                <a:gd name="T40" fmla="*/ 0 w 678"/>
                <a:gd name="T41" fmla="*/ 0 h 722"/>
                <a:gd name="T42" fmla="*/ 0 w 678"/>
                <a:gd name="T43" fmla="*/ 0 h 722"/>
                <a:gd name="T44" fmla="*/ 0 w 678"/>
                <a:gd name="T45" fmla="*/ 0 h 722"/>
                <a:gd name="T46" fmla="*/ 0 w 678"/>
                <a:gd name="T47" fmla="*/ 0 h 722"/>
                <a:gd name="T48" fmla="*/ 0 w 678"/>
                <a:gd name="T49" fmla="*/ 0 h 722"/>
                <a:gd name="T50" fmla="*/ 0 w 678"/>
                <a:gd name="T51" fmla="*/ 0 h 722"/>
                <a:gd name="T52" fmla="*/ 0 w 678"/>
                <a:gd name="T53" fmla="*/ 0 h 722"/>
                <a:gd name="T54" fmla="*/ 0 w 678"/>
                <a:gd name="T55" fmla="*/ 0 h 722"/>
                <a:gd name="T56" fmla="*/ 0 w 678"/>
                <a:gd name="T57" fmla="*/ 0 h 722"/>
                <a:gd name="T58" fmla="*/ 0 w 678"/>
                <a:gd name="T59" fmla="*/ 0 h 722"/>
                <a:gd name="T60" fmla="*/ 0 w 678"/>
                <a:gd name="T61" fmla="*/ 0 h 722"/>
                <a:gd name="T62" fmla="*/ 0 w 678"/>
                <a:gd name="T63" fmla="*/ 0 h 722"/>
                <a:gd name="T64" fmla="*/ 0 w 678"/>
                <a:gd name="T65" fmla="*/ 0 h 722"/>
                <a:gd name="T66" fmla="*/ 0 w 678"/>
                <a:gd name="T67" fmla="*/ 0 h 722"/>
                <a:gd name="T68" fmla="*/ 0 w 678"/>
                <a:gd name="T69" fmla="*/ 0 h 722"/>
                <a:gd name="T70" fmla="*/ 0 w 678"/>
                <a:gd name="T71" fmla="*/ 0 h 722"/>
                <a:gd name="T72" fmla="*/ 0 w 678"/>
                <a:gd name="T73" fmla="*/ 0 h 722"/>
                <a:gd name="T74" fmla="*/ 0 w 678"/>
                <a:gd name="T75" fmla="*/ 0 h 722"/>
                <a:gd name="T76" fmla="*/ 0 w 678"/>
                <a:gd name="T77" fmla="*/ 0 h 722"/>
                <a:gd name="T78" fmla="*/ 0 w 678"/>
                <a:gd name="T79" fmla="*/ 0 h 722"/>
                <a:gd name="T80" fmla="*/ 0 w 678"/>
                <a:gd name="T81" fmla="*/ 0 h 722"/>
                <a:gd name="T82" fmla="*/ 0 w 678"/>
                <a:gd name="T83" fmla="*/ 0 h 722"/>
                <a:gd name="T84" fmla="*/ 0 w 678"/>
                <a:gd name="T85" fmla="*/ 0 h 7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78"/>
                <a:gd name="T130" fmla="*/ 0 h 722"/>
                <a:gd name="T131" fmla="*/ 678 w 678"/>
                <a:gd name="T132" fmla="*/ 722 h 72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78" h="722">
                  <a:moveTo>
                    <a:pt x="339" y="0"/>
                  </a:moveTo>
                  <a:lnTo>
                    <a:pt x="356" y="0"/>
                  </a:lnTo>
                  <a:lnTo>
                    <a:pt x="373" y="1"/>
                  </a:lnTo>
                  <a:lnTo>
                    <a:pt x="390" y="4"/>
                  </a:lnTo>
                  <a:lnTo>
                    <a:pt x="407" y="7"/>
                  </a:lnTo>
                  <a:lnTo>
                    <a:pt x="423" y="11"/>
                  </a:lnTo>
                  <a:lnTo>
                    <a:pt x="439" y="16"/>
                  </a:lnTo>
                  <a:lnTo>
                    <a:pt x="455" y="21"/>
                  </a:lnTo>
                  <a:lnTo>
                    <a:pt x="471" y="28"/>
                  </a:lnTo>
                  <a:lnTo>
                    <a:pt x="486" y="36"/>
                  </a:lnTo>
                  <a:lnTo>
                    <a:pt x="500" y="44"/>
                  </a:lnTo>
                  <a:lnTo>
                    <a:pt x="514" y="52"/>
                  </a:lnTo>
                  <a:lnTo>
                    <a:pt x="528" y="61"/>
                  </a:lnTo>
                  <a:lnTo>
                    <a:pt x="541" y="71"/>
                  </a:lnTo>
                  <a:lnTo>
                    <a:pt x="554" y="83"/>
                  </a:lnTo>
                  <a:lnTo>
                    <a:pt x="567" y="94"/>
                  </a:lnTo>
                  <a:lnTo>
                    <a:pt x="578" y="105"/>
                  </a:lnTo>
                  <a:lnTo>
                    <a:pt x="590" y="118"/>
                  </a:lnTo>
                  <a:lnTo>
                    <a:pt x="600" y="132"/>
                  </a:lnTo>
                  <a:lnTo>
                    <a:pt x="610" y="145"/>
                  </a:lnTo>
                  <a:lnTo>
                    <a:pt x="620" y="159"/>
                  </a:lnTo>
                  <a:lnTo>
                    <a:pt x="629" y="173"/>
                  </a:lnTo>
                  <a:lnTo>
                    <a:pt x="637" y="189"/>
                  </a:lnTo>
                  <a:lnTo>
                    <a:pt x="644" y="204"/>
                  </a:lnTo>
                  <a:lnTo>
                    <a:pt x="651" y="220"/>
                  </a:lnTo>
                  <a:lnTo>
                    <a:pt x="657" y="237"/>
                  </a:lnTo>
                  <a:lnTo>
                    <a:pt x="662" y="254"/>
                  </a:lnTo>
                  <a:lnTo>
                    <a:pt x="667" y="271"/>
                  </a:lnTo>
                  <a:lnTo>
                    <a:pt x="671" y="289"/>
                  </a:lnTo>
                  <a:lnTo>
                    <a:pt x="674" y="306"/>
                  </a:lnTo>
                  <a:lnTo>
                    <a:pt x="676" y="324"/>
                  </a:lnTo>
                  <a:lnTo>
                    <a:pt x="677" y="343"/>
                  </a:lnTo>
                  <a:lnTo>
                    <a:pt x="678" y="361"/>
                  </a:lnTo>
                  <a:lnTo>
                    <a:pt x="677" y="379"/>
                  </a:lnTo>
                  <a:lnTo>
                    <a:pt x="676" y="398"/>
                  </a:lnTo>
                  <a:lnTo>
                    <a:pt x="674" y="416"/>
                  </a:lnTo>
                  <a:lnTo>
                    <a:pt x="671" y="434"/>
                  </a:lnTo>
                  <a:lnTo>
                    <a:pt x="667" y="451"/>
                  </a:lnTo>
                  <a:lnTo>
                    <a:pt x="662" y="468"/>
                  </a:lnTo>
                  <a:lnTo>
                    <a:pt x="657" y="486"/>
                  </a:lnTo>
                  <a:lnTo>
                    <a:pt x="651" y="502"/>
                  </a:lnTo>
                  <a:lnTo>
                    <a:pt x="644" y="517"/>
                  </a:lnTo>
                  <a:lnTo>
                    <a:pt x="637" y="534"/>
                  </a:lnTo>
                  <a:lnTo>
                    <a:pt x="629" y="549"/>
                  </a:lnTo>
                  <a:lnTo>
                    <a:pt x="620" y="563"/>
                  </a:lnTo>
                  <a:lnTo>
                    <a:pt x="610" y="577"/>
                  </a:lnTo>
                  <a:lnTo>
                    <a:pt x="600" y="591"/>
                  </a:lnTo>
                  <a:lnTo>
                    <a:pt x="590" y="604"/>
                  </a:lnTo>
                  <a:lnTo>
                    <a:pt x="578" y="616"/>
                  </a:lnTo>
                  <a:lnTo>
                    <a:pt x="567" y="628"/>
                  </a:lnTo>
                  <a:lnTo>
                    <a:pt x="554" y="640"/>
                  </a:lnTo>
                  <a:lnTo>
                    <a:pt x="541" y="651"/>
                  </a:lnTo>
                  <a:lnTo>
                    <a:pt x="528" y="661"/>
                  </a:lnTo>
                  <a:lnTo>
                    <a:pt x="514" y="670"/>
                  </a:lnTo>
                  <a:lnTo>
                    <a:pt x="500" y="679"/>
                  </a:lnTo>
                  <a:lnTo>
                    <a:pt x="486" y="687"/>
                  </a:lnTo>
                  <a:lnTo>
                    <a:pt x="471" y="694"/>
                  </a:lnTo>
                  <a:lnTo>
                    <a:pt x="455" y="701"/>
                  </a:lnTo>
                  <a:lnTo>
                    <a:pt x="439" y="706"/>
                  </a:lnTo>
                  <a:lnTo>
                    <a:pt x="423" y="711"/>
                  </a:lnTo>
                  <a:lnTo>
                    <a:pt x="407" y="715"/>
                  </a:lnTo>
                  <a:lnTo>
                    <a:pt x="390" y="718"/>
                  </a:lnTo>
                  <a:lnTo>
                    <a:pt x="373" y="720"/>
                  </a:lnTo>
                  <a:lnTo>
                    <a:pt x="356" y="722"/>
                  </a:lnTo>
                  <a:lnTo>
                    <a:pt x="339" y="722"/>
                  </a:lnTo>
                  <a:lnTo>
                    <a:pt x="321" y="722"/>
                  </a:lnTo>
                  <a:lnTo>
                    <a:pt x="304" y="720"/>
                  </a:lnTo>
                  <a:lnTo>
                    <a:pt x="287" y="718"/>
                  </a:lnTo>
                  <a:lnTo>
                    <a:pt x="270" y="715"/>
                  </a:lnTo>
                  <a:lnTo>
                    <a:pt x="254" y="711"/>
                  </a:lnTo>
                  <a:lnTo>
                    <a:pt x="238" y="706"/>
                  </a:lnTo>
                  <a:lnTo>
                    <a:pt x="222" y="701"/>
                  </a:lnTo>
                  <a:lnTo>
                    <a:pt x="207" y="694"/>
                  </a:lnTo>
                  <a:lnTo>
                    <a:pt x="192" y="687"/>
                  </a:lnTo>
                  <a:lnTo>
                    <a:pt x="177" y="679"/>
                  </a:lnTo>
                  <a:lnTo>
                    <a:pt x="163" y="670"/>
                  </a:lnTo>
                  <a:lnTo>
                    <a:pt x="149" y="661"/>
                  </a:lnTo>
                  <a:lnTo>
                    <a:pt x="136" y="651"/>
                  </a:lnTo>
                  <a:lnTo>
                    <a:pt x="123" y="640"/>
                  </a:lnTo>
                  <a:lnTo>
                    <a:pt x="111" y="628"/>
                  </a:lnTo>
                  <a:lnTo>
                    <a:pt x="99" y="616"/>
                  </a:lnTo>
                  <a:lnTo>
                    <a:pt x="88" y="604"/>
                  </a:lnTo>
                  <a:lnTo>
                    <a:pt x="77" y="591"/>
                  </a:lnTo>
                  <a:lnTo>
                    <a:pt x="67" y="577"/>
                  </a:lnTo>
                  <a:lnTo>
                    <a:pt x="58" y="563"/>
                  </a:lnTo>
                  <a:lnTo>
                    <a:pt x="49" y="549"/>
                  </a:lnTo>
                  <a:lnTo>
                    <a:pt x="41" y="534"/>
                  </a:lnTo>
                  <a:lnTo>
                    <a:pt x="33" y="517"/>
                  </a:lnTo>
                  <a:lnTo>
                    <a:pt x="26" y="502"/>
                  </a:lnTo>
                  <a:lnTo>
                    <a:pt x="20" y="486"/>
                  </a:lnTo>
                  <a:lnTo>
                    <a:pt x="15" y="468"/>
                  </a:lnTo>
                  <a:lnTo>
                    <a:pt x="10" y="451"/>
                  </a:lnTo>
                  <a:lnTo>
                    <a:pt x="7" y="434"/>
                  </a:lnTo>
                  <a:lnTo>
                    <a:pt x="4" y="416"/>
                  </a:lnTo>
                  <a:lnTo>
                    <a:pt x="1" y="398"/>
                  </a:lnTo>
                  <a:lnTo>
                    <a:pt x="0" y="379"/>
                  </a:lnTo>
                  <a:lnTo>
                    <a:pt x="0" y="361"/>
                  </a:lnTo>
                  <a:lnTo>
                    <a:pt x="0" y="343"/>
                  </a:lnTo>
                  <a:lnTo>
                    <a:pt x="1" y="324"/>
                  </a:lnTo>
                  <a:lnTo>
                    <a:pt x="4" y="306"/>
                  </a:lnTo>
                  <a:lnTo>
                    <a:pt x="7" y="289"/>
                  </a:lnTo>
                  <a:lnTo>
                    <a:pt x="10" y="271"/>
                  </a:lnTo>
                  <a:lnTo>
                    <a:pt x="15" y="254"/>
                  </a:lnTo>
                  <a:lnTo>
                    <a:pt x="20" y="237"/>
                  </a:lnTo>
                  <a:lnTo>
                    <a:pt x="26" y="220"/>
                  </a:lnTo>
                  <a:lnTo>
                    <a:pt x="33" y="204"/>
                  </a:lnTo>
                  <a:lnTo>
                    <a:pt x="41" y="189"/>
                  </a:lnTo>
                  <a:lnTo>
                    <a:pt x="49" y="173"/>
                  </a:lnTo>
                  <a:lnTo>
                    <a:pt x="58" y="159"/>
                  </a:lnTo>
                  <a:lnTo>
                    <a:pt x="67" y="145"/>
                  </a:lnTo>
                  <a:lnTo>
                    <a:pt x="77" y="132"/>
                  </a:lnTo>
                  <a:lnTo>
                    <a:pt x="88" y="118"/>
                  </a:lnTo>
                  <a:lnTo>
                    <a:pt x="99" y="105"/>
                  </a:lnTo>
                  <a:lnTo>
                    <a:pt x="111" y="94"/>
                  </a:lnTo>
                  <a:lnTo>
                    <a:pt x="123" y="83"/>
                  </a:lnTo>
                  <a:lnTo>
                    <a:pt x="136" y="71"/>
                  </a:lnTo>
                  <a:lnTo>
                    <a:pt x="149" y="61"/>
                  </a:lnTo>
                  <a:lnTo>
                    <a:pt x="163" y="52"/>
                  </a:lnTo>
                  <a:lnTo>
                    <a:pt x="177" y="44"/>
                  </a:lnTo>
                  <a:lnTo>
                    <a:pt x="192" y="36"/>
                  </a:lnTo>
                  <a:lnTo>
                    <a:pt x="207" y="28"/>
                  </a:lnTo>
                  <a:lnTo>
                    <a:pt x="222" y="21"/>
                  </a:lnTo>
                  <a:lnTo>
                    <a:pt x="238" y="16"/>
                  </a:lnTo>
                  <a:lnTo>
                    <a:pt x="254" y="11"/>
                  </a:lnTo>
                  <a:lnTo>
                    <a:pt x="270" y="7"/>
                  </a:lnTo>
                  <a:lnTo>
                    <a:pt x="287" y="4"/>
                  </a:lnTo>
                  <a:lnTo>
                    <a:pt x="304" y="1"/>
                  </a:lnTo>
                  <a:lnTo>
                    <a:pt x="321" y="0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0" name="Freeform 247"/>
            <p:cNvSpPr>
              <a:spLocks/>
            </p:cNvSpPr>
            <p:nvPr/>
          </p:nvSpPr>
          <p:spPr bwMode="auto">
            <a:xfrm>
              <a:off x="1590" y="1994"/>
              <a:ext cx="17" cy="17"/>
            </a:xfrm>
            <a:custGeom>
              <a:avLst/>
              <a:gdLst>
                <a:gd name="T0" fmla="*/ 0 w 678"/>
                <a:gd name="T1" fmla="*/ 0 h 722"/>
                <a:gd name="T2" fmla="*/ 0 w 678"/>
                <a:gd name="T3" fmla="*/ 0 h 722"/>
                <a:gd name="T4" fmla="*/ 0 w 678"/>
                <a:gd name="T5" fmla="*/ 0 h 722"/>
                <a:gd name="T6" fmla="*/ 0 w 678"/>
                <a:gd name="T7" fmla="*/ 0 h 722"/>
                <a:gd name="T8" fmla="*/ 0 w 678"/>
                <a:gd name="T9" fmla="*/ 0 h 722"/>
                <a:gd name="T10" fmla="*/ 0 w 678"/>
                <a:gd name="T11" fmla="*/ 0 h 722"/>
                <a:gd name="T12" fmla="*/ 0 w 678"/>
                <a:gd name="T13" fmla="*/ 0 h 722"/>
                <a:gd name="T14" fmla="*/ 0 w 678"/>
                <a:gd name="T15" fmla="*/ 0 h 722"/>
                <a:gd name="T16" fmla="*/ 0 w 678"/>
                <a:gd name="T17" fmla="*/ 0 h 722"/>
                <a:gd name="T18" fmla="*/ 0 w 678"/>
                <a:gd name="T19" fmla="*/ 0 h 722"/>
                <a:gd name="T20" fmla="*/ 0 w 678"/>
                <a:gd name="T21" fmla="*/ 0 h 722"/>
                <a:gd name="T22" fmla="*/ 0 w 678"/>
                <a:gd name="T23" fmla="*/ 0 h 722"/>
                <a:gd name="T24" fmla="*/ 0 w 678"/>
                <a:gd name="T25" fmla="*/ 0 h 722"/>
                <a:gd name="T26" fmla="*/ 0 w 678"/>
                <a:gd name="T27" fmla="*/ 0 h 722"/>
                <a:gd name="T28" fmla="*/ 0 w 678"/>
                <a:gd name="T29" fmla="*/ 0 h 722"/>
                <a:gd name="T30" fmla="*/ 0 w 678"/>
                <a:gd name="T31" fmla="*/ 0 h 722"/>
                <a:gd name="T32" fmla="*/ 0 w 678"/>
                <a:gd name="T33" fmla="*/ 0 h 722"/>
                <a:gd name="T34" fmla="*/ 0 w 678"/>
                <a:gd name="T35" fmla="*/ 0 h 722"/>
                <a:gd name="T36" fmla="*/ 0 w 678"/>
                <a:gd name="T37" fmla="*/ 0 h 722"/>
                <a:gd name="T38" fmla="*/ 0 w 678"/>
                <a:gd name="T39" fmla="*/ 0 h 722"/>
                <a:gd name="T40" fmla="*/ 0 w 678"/>
                <a:gd name="T41" fmla="*/ 0 h 722"/>
                <a:gd name="T42" fmla="*/ 0 w 678"/>
                <a:gd name="T43" fmla="*/ 0 h 722"/>
                <a:gd name="T44" fmla="*/ 0 w 678"/>
                <a:gd name="T45" fmla="*/ 0 h 722"/>
                <a:gd name="T46" fmla="*/ 0 w 678"/>
                <a:gd name="T47" fmla="*/ 0 h 722"/>
                <a:gd name="T48" fmla="*/ 0 w 678"/>
                <a:gd name="T49" fmla="*/ 0 h 722"/>
                <a:gd name="T50" fmla="*/ 0 w 678"/>
                <a:gd name="T51" fmla="*/ 0 h 722"/>
                <a:gd name="T52" fmla="*/ 0 w 678"/>
                <a:gd name="T53" fmla="*/ 0 h 722"/>
                <a:gd name="T54" fmla="*/ 0 w 678"/>
                <a:gd name="T55" fmla="*/ 0 h 722"/>
                <a:gd name="T56" fmla="*/ 0 w 678"/>
                <a:gd name="T57" fmla="*/ 0 h 722"/>
                <a:gd name="T58" fmla="*/ 0 w 678"/>
                <a:gd name="T59" fmla="*/ 0 h 722"/>
                <a:gd name="T60" fmla="*/ 0 w 678"/>
                <a:gd name="T61" fmla="*/ 0 h 722"/>
                <a:gd name="T62" fmla="*/ 0 w 678"/>
                <a:gd name="T63" fmla="*/ 0 h 722"/>
                <a:gd name="T64" fmla="*/ 0 w 678"/>
                <a:gd name="T65" fmla="*/ 0 h 722"/>
                <a:gd name="T66" fmla="*/ 0 w 678"/>
                <a:gd name="T67" fmla="*/ 0 h 722"/>
                <a:gd name="T68" fmla="*/ 0 w 678"/>
                <a:gd name="T69" fmla="*/ 0 h 722"/>
                <a:gd name="T70" fmla="*/ 0 w 678"/>
                <a:gd name="T71" fmla="*/ 0 h 722"/>
                <a:gd name="T72" fmla="*/ 0 w 678"/>
                <a:gd name="T73" fmla="*/ 0 h 722"/>
                <a:gd name="T74" fmla="*/ 0 w 678"/>
                <a:gd name="T75" fmla="*/ 0 h 722"/>
                <a:gd name="T76" fmla="*/ 0 w 678"/>
                <a:gd name="T77" fmla="*/ 0 h 722"/>
                <a:gd name="T78" fmla="*/ 0 w 678"/>
                <a:gd name="T79" fmla="*/ 0 h 722"/>
                <a:gd name="T80" fmla="*/ 0 w 678"/>
                <a:gd name="T81" fmla="*/ 0 h 722"/>
                <a:gd name="T82" fmla="*/ 0 w 678"/>
                <a:gd name="T83" fmla="*/ 0 h 722"/>
                <a:gd name="T84" fmla="*/ 0 w 678"/>
                <a:gd name="T85" fmla="*/ 0 h 7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78"/>
                <a:gd name="T130" fmla="*/ 0 h 722"/>
                <a:gd name="T131" fmla="*/ 678 w 678"/>
                <a:gd name="T132" fmla="*/ 722 h 72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78" h="722">
                  <a:moveTo>
                    <a:pt x="339" y="0"/>
                  </a:moveTo>
                  <a:lnTo>
                    <a:pt x="356" y="0"/>
                  </a:lnTo>
                  <a:lnTo>
                    <a:pt x="373" y="1"/>
                  </a:lnTo>
                  <a:lnTo>
                    <a:pt x="390" y="4"/>
                  </a:lnTo>
                  <a:lnTo>
                    <a:pt x="407" y="7"/>
                  </a:lnTo>
                  <a:lnTo>
                    <a:pt x="423" y="11"/>
                  </a:lnTo>
                  <a:lnTo>
                    <a:pt x="439" y="16"/>
                  </a:lnTo>
                  <a:lnTo>
                    <a:pt x="455" y="21"/>
                  </a:lnTo>
                  <a:lnTo>
                    <a:pt x="471" y="28"/>
                  </a:lnTo>
                  <a:lnTo>
                    <a:pt x="486" y="36"/>
                  </a:lnTo>
                  <a:lnTo>
                    <a:pt x="500" y="44"/>
                  </a:lnTo>
                  <a:lnTo>
                    <a:pt x="514" y="52"/>
                  </a:lnTo>
                  <a:lnTo>
                    <a:pt x="528" y="61"/>
                  </a:lnTo>
                  <a:lnTo>
                    <a:pt x="541" y="71"/>
                  </a:lnTo>
                  <a:lnTo>
                    <a:pt x="554" y="83"/>
                  </a:lnTo>
                  <a:lnTo>
                    <a:pt x="567" y="94"/>
                  </a:lnTo>
                  <a:lnTo>
                    <a:pt x="578" y="105"/>
                  </a:lnTo>
                  <a:lnTo>
                    <a:pt x="590" y="118"/>
                  </a:lnTo>
                  <a:lnTo>
                    <a:pt x="600" y="132"/>
                  </a:lnTo>
                  <a:lnTo>
                    <a:pt x="610" y="145"/>
                  </a:lnTo>
                  <a:lnTo>
                    <a:pt x="620" y="159"/>
                  </a:lnTo>
                  <a:lnTo>
                    <a:pt x="629" y="173"/>
                  </a:lnTo>
                  <a:lnTo>
                    <a:pt x="637" y="189"/>
                  </a:lnTo>
                  <a:lnTo>
                    <a:pt x="644" y="204"/>
                  </a:lnTo>
                  <a:lnTo>
                    <a:pt x="651" y="220"/>
                  </a:lnTo>
                  <a:lnTo>
                    <a:pt x="657" y="237"/>
                  </a:lnTo>
                  <a:lnTo>
                    <a:pt x="662" y="254"/>
                  </a:lnTo>
                  <a:lnTo>
                    <a:pt x="667" y="271"/>
                  </a:lnTo>
                  <a:lnTo>
                    <a:pt x="671" y="289"/>
                  </a:lnTo>
                  <a:lnTo>
                    <a:pt x="674" y="306"/>
                  </a:lnTo>
                  <a:lnTo>
                    <a:pt x="676" y="324"/>
                  </a:lnTo>
                  <a:lnTo>
                    <a:pt x="677" y="343"/>
                  </a:lnTo>
                  <a:lnTo>
                    <a:pt x="678" y="361"/>
                  </a:lnTo>
                  <a:lnTo>
                    <a:pt x="677" y="379"/>
                  </a:lnTo>
                  <a:lnTo>
                    <a:pt x="676" y="398"/>
                  </a:lnTo>
                  <a:lnTo>
                    <a:pt x="674" y="416"/>
                  </a:lnTo>
                  <a:lnTo>
                    <a:pt x="671" y="434"/>
                  </a:lnTo>
                  <a:lnTo>
                    <a:pt x="667" y="451"/>
                  </a:lnTo>
                  <a:lnTo>
                    <a:pt x="662" y="468"/>
                  </a:lnTo>
                  <a:lnTo>
                    <a:pt x="657" y="486"/>
                  </a:lnTo>
                  <a:lnTo>
                    <a:pt x="651" y="502"/>
                  </a:lnTo>
                  <a:lnTo>
                    <a:pt x="644" y="517"/>
                  </a:lnTo>
                  <a:lnTo>
                    <a:pt x="637" y="534"/>
                  </a:lnTo>
                  <a:lnTo>
                    <a:pt x="629" y="549"/>
                  </a:lnTo>
                  <a:lnTo>
                    <a:pt x="620" y="563"/>
                  </a:lnTo>
                  <a:lnTo>
                    <a:pt x="610" y="577"/>
                  </a:lnTo>
                  <a:lnTo>
                    <a:pt x="600" y="591"/>
                  </a:lnTo>
                  <a:lnTo>
                    <a:pt x="590" y="604"/>
                  </a:lnTo>
                  <a:lnTo>
                    <a:pt x="578" y="616"/>
                  </a:lnTo>
                  <a:lnTo>
                    <a:pt x="567" y="628"/>
                  </a:lnTo>
                  <a:lnTo>
                    <a:pt x="554" y="640"/>
                  </a:lnTo>
                  <a:lnTo>
                    <a:pt x="541" y="651"/>
                  </a:lnTo>
                  <a:lnTo>
                    <a:pt x="528" y="661"/>
                  </a:lnTo>
                  <a:lnTo>
                    <a:pt x="514" y="670"/>
                  </a:lnTo>
                  <a:lnTo>
                    <a:pt x="500" y="679"/>
                  </a:lnTo>
                  <a:lnTo>
                    <a:pt x="486" y="687"/>
                  </a:lnTo>
                  <a:lnTo>
                    <a:pt x="471" y="694"/>
                  </a:lnTo>
                  <a:lnTo>
                    <a:pt x="455" y="701"/>
                  </a:lnTo>
                  <a:lnTo>
                    <a:pt x="439" y="706"/>
                  </a:lnTo>
                  <a:lnTo>
                    <a:pt x="423" y="711"/>
                  </a:lnTo>
                  <a:lnTo>
                    <a:pt x="407" y="715"/>
                  </a:lnTo>
                  <a:lnTo>
                    <a:pt x="390" y="718"/>
                  </a:lnTo>
                  <a:lnTo>
                    <a:pt x="373" y="720"/>
                  </a:lnTo>
                  <a:lnTo>
                    <a:pt x="356" y="722"/>
                  </a:lnTo>
                  <a:lnTo>
                    <a:pt x="339" y="722"/>
                  </a:lnTo>
                  <a:lnTo>
                    <a:pt x="321" y="722"/>
                  </a:lnTo>
                  <a:lnTo>
                    <a:pt x="304" y="720"/>
                  </a:lnTo>
                  <a:lnTo>
                    <a:pt x="287" y="718"/>
                  </a:lnTo>
                  <a:lnTo>
                    <a:pt x="270" y="715"/>
                  </a:lnTo>
                  <a:lnTo>
                    <a:pt x="254" y="711"/>
                  </a:lnTo>
                  <a:lnTo>
                    <a:pt x="238" y="706"/>
                  </a:lnTo>
                  <a:lnTo>
                    <a:pt x="222" y="701"/>
                  </a:lnTo>
                  <a:lnTo>
                    <a:pt x="207" y="694"/>
                  </a:lnTo>
                  <a:lnTo>
                    <a:pt x="192" y="687"/>
                  </a:lnTo>
                  <a:lnTo>
                    <a:pt x="177" y="679"/>
                  </a:lnTo>
                  <a:lnTo>
                    <a:pt x="163" y="670"/>
                  </a:lnTo>
                  <a:lnTo>
                    <a:pt x="149" y="661"/>
                  </a:lnTo>
                  <a:lnTo>
                    <a:pt x="136" y="651"/>
                  </a:lnTo>
                  <a:lnTo>
                    <a:pt x="123" y="640"/>
                  </a:lnTo>
                  <a:lnTo>
                    <a:pt x="111" y="628"/>
                  </a:lnTo>
                  <a:lnTo>
                    <a:pt x="99" y="616"/>
                  </a:lnTo>
                  <a:lnTo>
                    <a:pt x="88" y="604"/>
                  </a:lnTo>
                  <a:lnTo>
                    <a:pt x="77" y="591"/>
                  </a:lnTo>
                  <a:lnTo>
                    <a:pt x="67" y="577"/>
                  </a:lnTo>
                  <a:lnTo>
                    <a:pt x="58" y="563"/>
                  </a:lnTo>
                  <a:lnTo>
                    <a:pt x="49" y="549"/>
                  </a:lnTo>
                  <a:lnTo>
                    <a:pt x="41" y="534"/>
                  </a:lnTo>
                  <a:lnTo>
                    <a:pt x="33" y="517"/>
                  </a:lnTo>
                  <a:lnTo>
                    <a:pt x="26" y="502"/>
                  </a:lnTo>
                  <a:lnTo>
                    <a:pt x="20" y="486"/>
                  </a:lnTo>
                  <a:lnTo>
                    <a:pt x="15" y="468"/>
                  </a:lnTo>
                  <a:lnTo>
                    <a:pt x="10" y="451"/>
                  </a:lnTo>
                  <a:lnTo>
                    <a:pt x="7" y="434"/>
                  </a:lnTo>
                  <a:lnTo>
                    <a:pt x="4" y="416"/>
                  </a:lnTo>
                  <a:lnTo>
                    <a:pt x="1" y="398"/>
                  </a:lnTo>
                  <a:lnTo>
                    <a:pt x="0" y="379"/>
                  </a:lnTo>
                  <a:lnTo>
                    <a:pt x="0" y="361"/>
                  </a:lnTo>
                  <a:lnTo>
                    <a:pt x="0" y="343"/>
                  </a:lnTo>
                  <a:lnTo>
                    <a:pt x="1" y="324"/>
                  </a:lnTo>
                  <a:lnTo>
                    <a:pt x="4" y="306"/>
                  </a:lnTo>
                  <a:lnTo>
                    <a:pt x="7" y="289"/>
                  </a:lnTo>
                  <a:lnTo>
                    <a:pt x="10" y="271"/>
                  </a:lnTo>
                  <a:lnTo>
                    <a:pt x="15" y="254"/>
                  </a:lnTo>
                  <a:lnTo>
                    <a:pt x="20" y="237"/>
                  </a:lnTo>
                  <a:lnTo>
                    <a:pt x="26" y="220"/>
                  </a:lnTo>
                  <a:lnTo>
                    <a:pt x="33" y="204"/>
                  </a:lnTo>
                  <a:lnTo>
                    <a:pt x="41" y="189"/>
                  </a:lnTo>
                  <a:lnTo>
                    <a:pt x="49" y="173"/>
                  </a:lnTo>
                  <a:lnTo>
                    <a:pt x="58" y="159"/>
                  </a:lnTo>
                  <a:lnTo>
                    <a:pt x="67" y="145"/>
                  </a:lnTo>
                  <a:lnTo>
                    <a:pt x="77" y="132"/>
                  </a:lnTo>
                  <a:lnTo>
                    <a:pt x="88" y="118"/>
                  </a:lnTo>
                  <a:lnTo>
                    <a:pt x="99" y="105"/>
                  </a:lnTo>
                  <a:lnTo>
                    <a:pt x="111" y="94"/>
                  </a:lnTo>
                  <a:lnTo>
                    <a:pt x="123" y="83"/>
                  </a:lnTo>
                  <a:lnTo>
                    <a:pt x="136" y="71"/>
                  </a:lnTo>
                  <a:lnTo>
                    <a:pt x="149" y="61"/>
                  </a:lnTo>
                  <a:lnTo>
                    <a:pt x="163" y="52"/>
                  </a:lnTo>
                  <a:lnTo>
                    <a:pt x="177" y="44"/>
                  </a:lnTo>
                  <a:lnTo>
                    <a:pt x="192" y="36"/>
                  </a:lnTo>
                  <a:lnTo>
                    <a:pt x="207" y="28"/>
                  </a:lnTo>
                  <a:lnTo>
                    <a:pt x="222" y="21"/>
                  </a:lnTo>
                  <a:lnTo>
                    <a:pt x="238" y="16"/>
                  </a:lnTo>
                  <a:lnTo>
                    <a:pt x="254" y="11"/>
                  </a:lnTo>
                  <a:lnTo>
                    <a:pt x="270" y="7"/>
                  </a:lnTo>
                  <a:lnTo>
                    <a:pt x="287" y="4"/>
                  </a:lnTo>
                  <a:lnTo>
                    <a:pt x="304" y="1"/>
                  </a:lnTo>
                  <a:lnTo>
                    <a:pt x="321" y="0"/>
                  </a:lnTo>
                  <a:lnTo>
                    <a:pt x="339" y="0"/>
                  </a:lnTo>
                  <a:close/>
                </a:path>
              </a:pathLst>
            </a:custGeom>
            <a:noFill/>
            <a:ln w="4763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1" name="Freeform 248"/>
            <p:cNvSpPr>
              <a:spLocks/>
            </p:cNvSpPr>
            <p:nvPr/>
          </p:nvSpPr>
          <p:spPr bwMode="auto">
            <a:xfrm>
              <a:off x="1494" y="1999"/>
              <a:ext cx="26" cy="52"/>
            </a:xfrm>
            <a:custGeom>
              <a:avLst/>
              <a:gdLst>
                <a:gd name="T0" fmla="*/ 0 w 1084"/>
                <a:gd name="T1" fmla="*/ 0 h 2232"/>
                <a:gd name="T2" fmla="*/ 0 w 1084"/>
                <a:gd name="T3" fmla="*/ 0 h 2232"/>
                <a:gd name="T4" fmla="*/ 0 w 1084"/>
                <a:gd name="T5" fmla="*/ 0 h 2232"/>
                <a:gd name="T6" fmla="*/ 0 w 1084"/>
                <a:gd name="T7" fmla="*/ 0 h 2232"/>
                <a:gd name="T8" fmla="*/ 0 w 1084"/>
                <a:gd name="T9" fmla="*/ 0 h 2232"/>
                <a:gd name="T10" fmla="*/ 0 w 1084"/>
                <a:gd name="T11" fmla="*/ 0 h 2232"/>
                <a:gd name="T12" fmla="*/ 0 w 1084"/>
                <a:gd name="T13" fmla="*/ 0 h 2232"/>
                <a:gd name="T14" fmla="*/ 0 w 1084"/>
                <a:gd name="T15" fmla="*/ 0 h 2232"/>
                <a:gd name="T16" fmla="*/ 0 w 1084"/>
                <a:gd name="T17" fmla="*/ 0 h 2232"/>
                <a:gd name="T18" fmla="*/ 0 w 1084"/>
                <a:gd name="T19" fmla="*/ 0 h 2232"/>
                <a:gd name="T20" fmla="*/ 0 w 1084"/>
                <a:gd name="T21" fmla="*/ 0 h 2232"/>
                <a:gd name="T22" fmla="*/ 0 w 1084"/>
                <a:gd name="T23" fmla="*/ 0 h 2232"/>
                <a:gd name="T24" fmla="*/ 0 w 1084"/>
                <a:gd name="T25" fmla="*/ 0 h 2232"/>
                <a:gd name="T26" fmla="*/ 0 w 1084"/>
                <a:gd name="T27" fmla="*/ 0 h 2232"/>
                <a:gd name="T28" fmla="*/ 0 w 1084"/>
                <a:gd name="T29" fmla="*/ 0 h 2232"/>
                <a:gd name="T30" fmla="*/ 0 w 1084"/>
                <a:gd name="T31" fmla="*/ 0 h 2232"/>
                <a:gd name="T32" fmla="*/ 0 w 1084"/>
                <a:gd name="T33" fmla="*/ 0 h 2232"/>
                <a:gd name="T34" fmla="*/ 0 w 1084"/>
                <a:gd name="T35" fmla="*/ 0 h 2232"/>
                <a:gd name="T36" fmla="*/ 0 w 1084"/>
                <a:gd name="T37" fmla="*/ 0 h 2232"/>
                <a:gd name="T38" fmla="*/ 0 w 1084"/>
                <a:gd name="T39" fmla="*/ 0 h 2232"/>
                <a:gd name="T40" fmla="*/ 0 w 1084"/>
                <a:gd name="T41" fmla="*/ 0 h 2232"/>
                <a:gd name="T42" fmla="*/ 0 w 1084"/>
                <a:gd name="T43" fmla="*/ 0 h 2232"/>
                <a:gd name="T44" fmla="*/ 0 w 1084"/>
                <a:gd name="T45" fmla="*/ 0 h 2232"/>
                <a:gd name="T46" fmla="*/ 0 w 1084"/>
                <a:gd name="T47" fmla="*/ 0 h 2232"/>
                <a:gd name="T48" fmla="*/ 0 w 1084"/>
                <a:gd name="T49" fmla="*/ 0 h 2232"/>
                <a:gd name="T50" fmla="*/ 0 w 1084"/>
                <a:gd name="T51" fmla="*/ 0 h 2232"/>
                <a:gd name="T52" fmla="*/ 0 w 1084"/>
                <a:gd name="T53" fmla="*/ 0 h 2232"/>
                <a:gd name="T54" fmla="*/ 0 w 1084"/>
                <a:gd name="T55" fmla="*/ 0 h 2232"/>
                <a:gd name="T56" fmla="*/ 0 w 1084"/>
                <a:gd name="T57" fmla="*/ 0 h 2232"/>
                <a:gd name="T58" fmla="*/ 0 w 1084"/>
                <a:gd name="T59" fmla="*/ 0 h 2232"/>
                <a:gd name="T60" fmla="*/ 0 w 1084"/>
                <a:gd name="T61" fmla="*/ 0 h 2232"/>
                <a:gd name="T62" fmla="*/ 0 w 1084"/>
                <a:gd name="T63" fmla="*/ 0 h 2232"/>
                <a:gd name="T64" fmla="*/ 0 w 1084"/>
                <a:gd name="T65" fmla="*/ 0 h 2232"/>
                <a:gd name="T66" fmla="*/ 0 w 1084"/>
                <a:gd name="T67" fmla="*/ 0 h 2232"/>
                <a:gd name="T68" fmla="*/ 0 w 1084"/>
                <a:gd name="T69" fmla="*/ 0 h 2232"/>
                <a:gd name="T70" fmla="*/ 0 w 1084"/>
                <a:gd name="T71" fmla="*/ 0 h 2232"/>
                <a:gd name="T72" fmla="*/ 0 w 1084"/>
                <a:gd name="T73" fmla="*/ 0 h 2232"/>
                <a:gd name="T74" fmla="*/ 0 w 1084"/>
                <a:gd name="T75" fmla="*/ 0 h 2232"/>
                <a:gd name="T76" fmla="*/ 0 w 1084"/>
                <a:gd name="T77" fmla="*/ 0 h 2232"/>
                <a:gd name="T78" fmla="*/ 0 w 1084"/>
                <a:gd name="T79" fmla="*/ 0 h 2232"/>
                <a:gd name="T80" fmla="*/ 0 w 1084"/>
                <a:gd name="T81" fmla="*/ 0 h 2232"/>
                <a:gd name="T82" fmla="*/ 0 w 1084"/>
                <a:gd name="T83" fmla="*/ 0 h 2232"/>
                <a:gd name="T84" fmla="*/ 0 w 1084"/>
                <a:gd name="T85" fmla="*/ 0 h 223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84"/>
                <a:gd name="T130" fmla="*/ 0 h 2232"/>
                <a:gd name="T131" fmla="*/ 1084 w 1084"/>
                <a:gd name="T132" fmla="*/ 2232 h 223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84" h="2232">
                  <a:moveTo>
                    <a:pt x="477" y="0"/>
                  </a:moveTo>
                  <a:lnTo>
                    <a:pt x="515" y="2"/>
                  </a:lnTo>
                  <a:lnTo>
                    <a:pt x="551" y="7"/>
                  </a:lnTo>
                  <a:lnTo>
                    <a:pt x="586" y="15"/>
                  </a:lnTo>
                  <a:lnTo>
                    <a:pt x="620" y="27"/>
                  </a:lnTo>
                  <a:lnTo>
                    <a:pt x="653" y="41"/>
                  </a:lnTo>
                  <a:lnTo>
                    <a:pt x="684" y="58"/>
                  </a:lnTo>
                  <a:lnTo>
                    <a:pt x="715" y="79"/>
                  </a:lnTo>
                  <a:lnTo>
                    <a:pt x="744" y="101"/>
                  </a:lnTo>
                  <a:lnTo>
                    <a:pt x="772" y="128"/>
                  </a:lnTo>
                  <a:lnTo>
                    <a:pt x="798" y="155"/>
                  </a:lnTo>
                  <a:lnTo>
                    <a:pt x="824" y="186"/>
                  </a:lnTo>
                  <a:lnTo>
                    <a:pt x="848" y="218"/>
                  </a:lnTo>
                  <a:lnTo>
                    <a:pt x="871" y="253"/>
                  </a:lnTo>
                  <a:lnTo>
                    <a:pt x="893" y="290"/>
                  </a:lnTo>
                  <a:lnTo>
                    <a:pt x="914" y="330"/>
                  </a:lnTo>
                  <a:lnTo>
                    <a:pt x="933" y="370"/>
                  </a:lnTo>
                  <a:lnTo>
                    <a:pt x="952" y="413"/>
                  </a:lnTo>
                  <a:lnTo>
                    <a:pt x="969" y="457"/>
                  </a:lnTo>
                  <a:lnTo>
                    <a:pt x="985" y="504"/>
                  </a:lnTo>
                  <a:lnTo>
                    <a:pt x="999" y="551"/>
                  </a:lnTo>
                  <a:lnTo>
                    <a:pt x="1013" y="600"/>
                  </a:lnTo>
                  <a:lnTo>
                    <a:pt x="1025" y="651"/>
                  </a:lnTo>
                  <a:lnTo>
                    <a:pt x="1036" y="702"/>
                  </a:lnTo>
                  <a:lnTo>
                    <a:pt x="1047" y="754"/>
                  </a:lnTo>
                  <a:lnTo>
                    <a:pt x="1055" y="808"/>
                  </a:lnTo>
                  <a:lnTo>
                    <a:pt x="1063" y="862"/>
                  </a:lnTo>
                  <a:lnTo>
                    <a:pt x="1070" y="918"/>
                  </a:lnTo>
                  <a:lnTo>
                    <a:pt x="1075" y="973"/>
                  </a:lnTo>
                  <a:lnTo>
                    <a:pt x="1079" y="1031"/>
                  </a:lnTo>
                  <a:lnTo>
                    <a:pt x="1082" y="1088"/>
                  </a:lnTo>
                  <a:lnTo>
                    <a:pt x="1084" y="1145"/>
                  </a:lnTo>
                  <a:lnTo>
                    <a:pt x="1084" y="1202"/>
                  </a:lnTo>
                  <a:lnTo>
                    <a:pt x="1084" y="1259"/>
                  </a:lnTo>
                  <a:lnTo>
                    <a:pt x="1082" y="1315"/>
                  </a:lnTo>
                  <a:lnTo>
                    <a:pt x="1079" y="1370"/>
                  </a:lnTo>
                  <a:lnTo>
                    <a:pt x="1075" y="1423"/>
                  </a:lnTo>
                  <a:lnTo>
                    <a:pt x="1070" y="1475"/>
                  </a:lnTo>
                  <a:lnTo>
                    <a:pt x="1063" y="1526"/>
                  </a:lnTo>
                  <a:lnTo>
                    <a:pt x="1055" y="1575"/>
                  </a:lnTo>
                  <a:lnTo>
                    <a:pt x="1047" y="1623"/>
                  </a:lnTo>
                  <a:lnTo>
                    <a:pt x="1036" y="1669"/>
                  </a:lnTo>
                  <a:lnTo>
                    <a:pt x="1025" y="1714"/>
                  </a:lnTo>
                  <a:lnTo>
                    <a:pt x="1013" y="1758"/>
                  </a:lnTo>
                  <a:lnTo>
                    <a:pt x="999" y="1799"/>
                  </a:lnTo>
                  <a:lnTo>
                    <a:pt x="985" y="1839"/>
                  </a:lnTo>
                  <a:lnTo>
                    <a:pt x="969" y="1877"/>
                  </a:lnTo>
                  <a:lnTo>
                    <a:pt x="952" y="1914"/>
                  </a:lnTo>
                  <a:lnTo>
                    <a:pt x="933" y="1949"/>
                  </a:lnTo>
                  <a:lnTo>
                    <a:pt x="914" y="1981"/>
                  </a:lnTo>
                  <a:lnTo>
                    <a:pt x="893" y="2012"/>
                  </a:lnTo>
                  <a:lnTo>
                    <a:pt x="871" y="2042"/>
                  </a:lnTo>
                  <a:lnTo>
                    <a:pt x="848" y="2069"/>
                  </a:lnTo>
                  <a:lnTo>
                    <a:pt x="824" y="2095"/>
                  </a:lnTo>
                  <a:lnTo>
                    <a:pt x="798" y="2118"/>
                  </a:lnTo>
                  <a:lnTo>
                    <a:pt x="772" y="2139"/>
                  </a:lnTo>
                  <a:lnTo>
                    <a:pt x="744" y="2158"/>
                  </a:lnTo>
                  <a:lnTo>
                    <a:pt x="715" y="2175"/>
                  </a:lnTo>
                  <a:lnTo>
                    <a:pt x="684" y="2191"/>
                  </a:lnTo>
                  <a:lnTo>
                    <a:pt x="653" y="2203"/>
                  </a:lnTo>
                  <a:lnTo>
                    <a:pt x="620" y="2213"/>
                  </a:lnTo>
                  <a:lnTo>
                    <a:pt x="586" y="2222"/>
                  </a:lnTo>
                  <a:lnTo>
                    <a:pt x="551" y="2227"/>
                  </a:lnTo>
                  <a:lnTo>
                    <a:pt x="515" y="2231"/>
                  </a:lnTo>
                  <a:lnTo>
                    <a:pt x="477" y="2232"/>
                  </a:lnTo>
                  <a:lnTo>
                    <a:pt x="440" y="2231"/>
                  </a:lnTo>
                  <a:lnTo>
                    <a:pt x="405" y="2227"/>
                  </a:lnTo>
                  <a:lnTo>
                    <a:pt x="371" y="2220"/>
                  </a:lnTo>
                  <a:lnTo>
                    <a:pt x="340" y="2211"/>
                  </a:lnTo>
                  <a:lnTo>
                    <a:pt x="310" y="2200"/>
                  </a:lnTo>
                  <a:lnTo>
                    <a:pt x="282" y="2187"/>
                  </a:lnTo>
                  <a:lnTo>
                    <a:pt x="256" y="2170"/>
                  </a:lnTo>
                  <a:lnTo>
                    <a:pt x="231" y="2151"/>
                  </a:lnTo>
                  <a:lnTo>
                    <a:pt x="208" y="2130"/>
                  </a:lnTo>
                  <a:lnTo>
                    <a:pt x="186" y="2108"/>
                  </a:lnTo>
                  <a:lnTo>
                    <a:pt x="166" y="2082"/>
                  </a:lnTo>
                  <a:lnTo>
                    <a:pt x="147" y="2055"/>
                  </a:lnTo>
                  <a:lnTo>
                    <a:pt x="130" y="2026"/>
                  </a:lnTo>
                  <a:lnTo>
                    <a:pt x="114" y="1995"/>
                  </a:lnTo>
                  <a:lnTo>
                    <a:pt x="100" y="1962"/>
                  </a:lnTo>
                  <a:lnTo>
                    <a:pt x="86" y="1926"/>
                  </a:lnTo>
                  <a:lnTo>
                    <a:pt x="74" y="1891"/>
                  </a:lnTo>
                  <a:lnTo>
                    <a:pt x="63" y="1852"/>
                  </a:lnTo>
                  <a:lnTo>
                    <a:pt x="53" y="1811"/>
                  </a:lnTo>
                  <a:lnTo>
                    <a:pt x="44" y="1769"/>
                  </a:lnTo>
                  <a:lnTo>
                    <a:pt x="36" y="1726"/>
                  </a:lnTo>
                  <a:lnTo>
                    <a:pt x="29" y="1682"/>
                  </a:lnTo>
                  <a:lnTo>
                    <a:pt x="23" y="1635"/>
                  </a:lnTo>
                  <a:lnTo>
                    <a:pt x="18" y="1587"/>
                  </a:lnTo>
                  <a:lnTo>
                    <a:pt x="13" y="1538"/>
                  </a:lnTo>
                  <a:lnTo>
                    <a:pt x="9" y="1488"/>
                  </a:lnTo>
                  <a:lnTo>
                    <a:pt x="6" y="1436"/>
                  </a:lnTo>
                  <a:lnTo>
                    <a:pt x="4" y="1383"/>
                  </a:lnTo>
                  <a:lnTo>
                    <a:pt x="2" y="1328"/>
                  </a:lnTo>
                  <a:lnTo>
                    <a:pt x="1" y="1272"/>
                  </a:lnTo>
                  <a:lnTo>
                    <a:pt x="1" y="1216"/>
                  </a:lnTo>
                  <a:lnTo>
                    <a:pt x="0" y="1159"/>
                  </a:lnTo>
                  <a:lnTo>
                    <a:pt x="1" y="1102"/>
                  </a:lnTo>
                  <a:lnTo>
                    <a:pt x="1" y="1045"/>
                  </a:lnTo>
                  <a:lnTo>
                    <a:pt x="2" y="989"/>
                  </a:lnTo>
                  <a:lnTo>
                    <a:pt x="4" y="933"/>
                  </a:lnTo>
                  <a:lnTo>
                    <a:pt x="6" y="878"/>
                  </a:lnTo>
                  <a:lnTo>
                    <a:pt x="9" y="823"/>
                  </a:lnTo>
                  <a:lnTo>
                    <a:pt x="13" y="770"/>
                  </a:lnTo>
                  <a:lnTo>
                    <a:pt x="18" y="718"/>
                  </a:lnTo>
                  <a:lnTo>
                    <a:pt x="23" y="667"/>
                  </a:lnTo>
                  <a:lnTo>
                    <a:pt x="29" y="617"/>
                  </a:lnTo>
                  <a:lnTo>
                    <a:pt x="36" y="569"/>
                  </a:lnTo>
                  <a:lnTo>
                    <a:pt x="44" y="521"/>
                  </a:lnTo>
                  <a:lnTo>
                    <a:pt x="53" y="477"/>
                  </a:lnTo>
                  <a:lnTo>
                    <a:pt x="63" y="432"/>
                  </a:lnTo>
                  <a:lnTo>
                    <a:pt x="74" y="390"/>
                  </a:lnTo>
                  <a:lnTo>
                    <a:pt x="86" y="349"/>
                  </a:lnTo>
                  <a:lnTo>
                    <a:pt x="100" y="310"/>
                  </a:lnTo>
                  <a:lnTo>
                    <a:pt x="114" y="272"/>
                  </a:lnTo>
                  <a:lnTo>
                    <a:pt x="130" y="238"/>
                  </a:lnTo>
                  <a:lnTo>
                    <a:pt x="147" y="205"/>
                  </a:lnTo>
                  <a:lnTo>
                    <a:pt x="166" y="174"/>
                  </a:lnTo>
                  <a:lnTo>
                    <a:pt x="186" y="145"/>
                  </a:lnTo>
                  <a:lnTo>
                    <a:pt x="208" y="118"/>
                  </a:lnTo>
                  <a:lnTo>
                    <a:pt x="231" y="95"/>
                  </a:lnTo>
                  <a:lnTo>
                    <a:pt x="256" y="74"/>
                  </a:lnTo>
                  <a:lnTo>
                    <a:pt x="282" y="55"/>
                  </a:lnTo>
                  <a:lnTo>
                    <a:pt x="310" y="39"/>
                  </a:lnTo>
                  <a:lnTo>
                    <a:pt x="340" y="25"/>
                  </a:lnTo>
                  <a:lnTo>
                    <a:pt x="371" y="14"/>
                  </a:lnTo>
                  <a:lnTo>
                    <a:pt x="405" y="6"/>
                  </a:lnTo>
                  <a:lnTo>
                    <a:pt x="440" y="2"/>
                  </a:lnTo>
                  <a:lnTo>
                    <a:pt x="47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2" name="Freeform 249"/>
            <p:cNvSpPr>
              <a:spLocks/>
            </p:cNvSpPr>
            <p:nvPr/>
          </p:nvSpPr>
          <p:spPr bwMode="auto">
            <a:xfrm>
              <a:off x="1494" y="1999"/>
              <a:ext cx="26" cy="52"/>
            </a:xfrm>
            <a:custGeom>
              <a:avLst/>
              <a:gdLst>
                <a:gd name="T0" fmla="*/ 0 w 1084"/>
                <a:gd name="T1" fmla="*/ 0 h 2232"/>
                <a:gd name="T2" fmla="*/ 0 w 1084"/>
                <a:gd name="T3" fmla="*/ 0 h 2232"/>
                <a:gd name="T4" fmla="*/ 0 w 1084"/>
                <a:gd name="T5" fmla="*/ 0 h 2232"/>
                <a:gd name="T6" fmla="*/ 0 w 1084"/>
                <a:gd name="T7" fmla="*/ 0 h 2232"/>
                <a:gd name="T8" fmla="*/ 0 w 1084"/>
                <a:gd name="T9" fmla="*/ 0 h 2232"/>
                <a:gd name="T10" fmla="*/ 0 w 1084"/>
                <a:gd name="T11" fmla="*/ 0 h 2232"/>
                <a:gd name="T12" fmla="*/ 0 w 1084"/>
                <a:gd name="T13" fmla="*/ 0 h 2232"/>
                <a:gd name="T14" fmla="*/ 0 w 1084"/>
                <a:gd name="T15" fmla="*/ 0 h 2232"/>
                <a:gd name="T16" fmla="*/ 0 w 1084"/>
                <a:gd name="T17" fmla="*/ 0 h 2232"/>
                <a:gd name="T18" fmla="*/ 0 w 1084"/>
                <a:gd name="T19" fmla="*/ 0 h 2232"/>
                <a:gd name="T20" fmla="*/ 0 w 1084"/>
                <a:gd name="T21" fmla="*/ 0 h 2232"/>
                <a:gd name="T22" fmla="*/ 0 w 1084"/>
                <a:gd name="T23" fmla="*/ 0 h 2232"/>
                <a:gd name="T24" fmla="*/ 0 w 1084"/>
                <a:gd name="T25" fmla="*/ 0 h 2232"/>
                <a:gd name="T26" fmla="*/ 0 w 1084"/>
                <a:gd name="T27" fmla="*/ 0 h 2232"/>
                <a:gd name="T28" fmla="*/ 0 w 1084"/>
                <a:gd name="T29" fmla="*/ 0 h 2232"/>
                <a:gd name="T30" fmla="*/ 0 w 1084"/>
                <a:gd name="T31" fmla="*/ 0 h 2232"/>
                <a:gd name="T32" fmla="*/ 0 w 1084"/>
                <a:gd name="T33" fmla="*/ 0 h 2232"/>
                <a:gd name="T34" fmla="*/ 0 w 1084"/>
                <a:gd name="T35" fmla="*/ 0 h 2232"/>
                <a:gd name="T36" fmla="*/ 0 w 1084"/>
                <a:gd name="T37" fmla="*/ 0 h 2232"/>
                <a:gd name="T38" fmla="*/ 0 w 1084"/>
                <a:gd name="T39" fmla="*/ 0 h 2232"/>
                <a:gd name="T40" fmla="*/ 0 w 1084"/>
                <a:gd name="T41" fmla="*/ 0 h 2232"/>
                <a:gd name="T42" fmla="*/ 0 w 1084"/>
                <a:gd name="T43" fmla="*/ 0 h 2232"/>
                <a:gd name="T44" fmla="*/ 0 w 1084"/>
                <a:gd name="T45" fmla="*/ 0 h 2232"/>
                <a:gd name="T46" fmla="*/ 0 w 1084"/>
                <a:gd name="T47" fmla="*/ 0 h 2232"/>
                <a:gd name="T48" fmla="*/ 0 w 1084"/>
                <a:gd name="T49" fmla="*/ 0 h 2232"/>
                <a:gd name="T50" fmla="*/ 0 w 1084"/>
                <a:gd name="T51" fmla="*/ 0 h 2232"/>
                <a:gd name="T52" fmla="*/ 0 w 1084"/>
                <a:gd name="T53" fmla="*/ 0 h 2232"/>
                <a:gd name="T54" fmla="*/ 0 w 1084"/>
                <a:gd name="T55" fmla="*/ 0 h 2232"/>
                <a:gd name="T56" fmla="*/ 0 w 1084"/>
                <a:gd name="T57" fmla="*/ 0 h 2232"/>
                <a:gd name="T58" fmla="*/ 0 w 1084"/>
                <a:gd name="T59" fmla="*/ 0 h 2232"/>
                <a:gd name="T60" fmla="*/ 0 w 1084"/>
                <a:gd name="T61" fmla="*/ 0 h 2232"/>
                <a:gd name="T62" fmla="*/ 0 w 1084"/>
                <a:gd name="T63" fmla="*/ 0 h 2232"/>
                <a:gd name="T64" fmla="*/ 0 w 1084"/>
                <a:gd name="T65" fmla="*/ 0 h 2232"/>
                <a:gd name="T66" fmla="*/ 0 w 1084"/>
                <a:gd name="T67" fmla="*/ 0 h 2232"/>
                <a:gd name="T68" fmla="*/ 0 w 1084"/>
                <a:gd name="T69" fmla="*/ 0 h 2232"/>
                <a:gd name="T70" fmla="*/ 0 w 1084"/>
                <a:gd name="T71" fmla="*/ 0 h 2232"/>
                <a:gd name="T72" fmla="*/ 0 w 1084"/>
                <a:gd name="T73" fmla="*/ 0 h 2232"/>
                <a:gd name="T74" fmla="*/ 0 w 1084"/>
                <a:gd name="T75" fmla="*/ 0 h 2232"/>
                <a:gd name="T76" fmla="*/ 0 w 1084"/>
                <a:gd name="T77" fmla="*/ 0 h 2232"/>
                <a:gd name="T78" fmla="*/ 0 w 1084"/>
                <a:gd name="T79" fmla="*/ 0 h 2232"/>
                <a:gd name="T80" fmla="*/ 0 w 1084"/>
                <a:gd name="T81" fmla="*/ 0 h 2232"/>
                <a:gd name="T82" fmla="*/ 0 w 1084"/>
                <a:gd name="T83" fmla="*/ 0 h 2232"/>
                <a:gd name="T84" fmla="*/ 0 w 1084"/>
                <a:gd name="T85" fmla="*/ 0 h 223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84"/>
                <a:gd name="T130" fmla="*/ 0 h 2232"/>
                <a:gd name="T131" fmla="*/ 1084 w 1084"/>
                <a:gd name="T132" fmla="*/ 2232 h 223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84" h="2232">
                  <a:moveTo>
                    <a:pt x="477" y="0"/>
                  </a:moveTo>
                  <a:lnTo>
                    <a:pt x="515" y="2"/>
                  </a:lnTo>
                  <a:lnTo>
                    <a:pt x="551" y="7"/>
                  </a:lnTo>
                  <a:lnTo>
                    <a:pt x="586" y="15"/>
                  </a:lnTo>
                  <a:lnTo>
                    <a:pt x="620" y="27"/>
                  </a:lnTo>
                  <a:lnTo>
                    <a:pt x="653" y="41"/>
                  </a:lnTo>
                  <a:lnTo>
                    <a:pt x="684" y="58"/>
                  </a:lnTo>
                  <a:lnTo>
                    <a:pt x="715" y="79"/>
                  </a:lnTo>
                  <a:lnTo>
                    <a:pt x="744" y="101"/>
                  </a:lnTo>
                  <a:lnTo>
                    <a:pt x="772" y="128"/>
                  </a:lnTo>
                  <a:lnTo>
                    <a:pt x="798" y="155"/>
                  </a:lnTo>
                  <a:lnTo>
                    <a:pt x="824" y="186"/>
                  </a:lnTo>
                  <a:lnTo>
                    <a:pt x="848" y="218"/>
                  </a:lnTo>
                  <a:lnTo>
                    <a:pt x="871" y="253"/>
                  </a:lnTo>
                  <a:lnTo>
                    <a:pt x="893" y="290"/>
                  </a:lnTo>
                  <a:lnTo>
                    <a:pt x="914" y="330"/>
                  </a:lnTo>
                  <a:lnTo>
                    <a:pt x="933" y="370"/>
                  </a:lnTo>
                  <a:lnTo>
                    <a:pt x="952" y="413"/>
                  </a:lnTo>
                  <a:lnTo>
                    <a:pt x="969" y="457"/>
                  </a:lnTo>
                  <a:lnTo>
                    <a:pt x="985" y="504"/>
                  </a:lnTo>
                  <a:lnTo>
                    <a:pt x="999" y="551"/>
                  </a:lnTo>
                  <a:lnTo>
                    <a:pt x="1013" y="600"/>
                  </a:lnTo>
                  <a:lnTo>
                    <a:pt x="1025" y="651"/>
                  </a:lnTo>
                  <a:lnTo>
                    <a:pt x="1036" y="702"/>
                  </a:lnTo>
                  <a:lnTo>
                    <a:pt x="1047" y="754"/>
                  </a:lnTo>
                  <a:lnTo>
                    <a:pt x="1055" y="808"/>
                  </a:lnTo>
                  <a:lnTo>
                    <a:pt x="1063" y="862"/>
                  </a:lnTo>
                  <a:lnTo>
                    <a:pt x="1070" y="918"/>
                  </a:lnTo>
                  <a:lnTo>
                    <a:pt x="1075" y="973"/>
                  </a:lnTo>
                  <a:lnTo>
                    <a:pt x="1079" y="1031"/>
                  </a:lnTo>
                  <a:lnTo>
                    <a:pt x="1082" y="1088"/>
                  </a:lnTo>
                  <a:lnTo>
                    <a:pt x="1084" y="1145"/>
                  </a:lnTo>
                  <a:lnTo>
                    <a:pt x="1084" y="1202"/>
                  </a:lnTo>
                  <a:lnTo>
                    <a:pt x="1084" y="1259"/>
                  </a:lnTo>
                  <a:lnTo>
                    <a:pt x="1082" y="1315"/>
                  </a:lnTo>
                  <a:lnTo>
                    <a:pt x="1079" y="1370"/>
                  </a:lnTo>
                  <a:lnTo>
                    <a:pt x="1075" y="1423"/>
                  </a:lnTo>
                  <a:lnTo>
                    <a:pt x="1070" y="1475"/>
                  </a:lnTo>
                  <a:lnTo>
                    <a:pt x="1063" y="1526"/>
                  </a:lnTo>
                  <a:lnTo>
                    <a:pt x="1055" y="1575"/>
                  </a:lnTo>
                  <a:lnTo>
                    <a:pt x="1047" y="1623"/>
                  </a:lnTo>
                  <a:lnTo>
                    <a:pt x="1036" y="1669"/>
                  </a:lnTo>
                  <a:lnTo>
                    <a:pt x="1025" y="1714"/>
                  </a:lnTo>
                  <a:lnTo>
                    <a:pt x="1013" y="1758"/>
                  </a:lnTo>
                  <a:lnTo>
                    <a:pt x="999" y="1799"/>
                  </a:lnTo>
                  <a:lnTo>
                    <a:pt x="985" y="1839"/>
                  </a:lnTo>
                  <a:lnTo>
                    <a:pt x="969" y="1877"/>
                  </a:lnTo>
                  <a:lnTo>
                    <a:pt x="952" y="1914"/>
                  </a:lnTo>
                  <a:lnTo>
                    <a:pt x="933" y="1949"/>
                  </a:lnTo>
                  <a:lnTo>
                    <a:pt x="914" y="1981"/>
                  </a:lnTo>
                  <a:lnTo>
                    <a:pt x="893" y="2012"/>
                  </a:lnTo>
                  <a:lnTo>
                    <a:pt x="871" y="2042"/>
                  </a:lnTo>
                  <a:lnTo>
                    <a:pt x="848" y="2069"/>
                  </a:lnTo>
                  <a:lnTo>
                    <a:pt x="824" y="2095"/>
                  </a:lnTo>
                  <a:lnTo>
                    <a:pt x="798" y="2118"/>
                  </a:lnTo>
                  <a:lnTo>
                    <a:pt x="772" y="2139"/>
                  </a:lnTo>
                  <a:lnTo>
                    <a:pt x="744" y="2158"/>
                  </a:lnTo>
                  <a:lnTo>
                    <a:pt x="715" y="2175"/>
                  </a:lnTo>
                  <a:lnTo>
                    <a:pt x="684" y="2191"/>
                  </a:lnTo>
                  <a:lnTo>
                    <a:pt x="653" y="2203"/>
                  </a:lnTo>
                  <a:lnTo>
                    <a:pt x="620" y="2213"/>
                  </a:lnTo>
                  <a:lnTo>
                    <a:pt x="586" y="2222"/>
                  </a:lnTo>
                  <a:lnTo>
                    <a:pt x="551" y="2227"/>
                  </a:lnTo>
                  <a:lnTo>
                    <a:pt x="515" y="2231"/>
                  </a:lnTo>
                  <a:lnTo>
                    <a:pt x="477" y="2232"/>
                  </a:lnTo>
                  <a:lnTo>
                    <a:pt x="440" y="2231"/>
                  </a:lnTo>
                  <a:lnTo>
                    <a:pt x="405" y="2227"/>
                  </a:lnTo>
                  <a:lnTo>
                    <a:pt x="371" y="2220"/>
                  </a:lnTo>
                  <a:lnTo>
                    <a:pt x="340" y="2211"/>
                  </a:lnTo>
                  <a:lnTo>
                    <a:pt x="310" y="2200"/>
                  </a:lnTo>
                  <a:lnTo>
                    <a:pt x="282" y="2187"/>
                  </a:lnTo>
                  <a:lnTo>
                    <a:pt x="256" y="2170"/>
                  </a:lnTo>
                  <a:lnTo>
                    <a:pt x="231" y="2151"/>
                  </a:lnTo>
                  <a:lnTo>
                    <a:pt x="208" y="2130"/>
                  </a:lnTo>
                  <a:lnTo>
                    <a:pt x="186" y="2108"/>
                  </a:lnTo>
                  <a:lnTo>
                    <a:pt x="166" y="2082"/>
                  </a:lnTo>
                  <a:lnTo>
                    <a:pt x="147" y="2055"/>
                  </a:lnTo>
                  <a:lnTo>
                    <a:pt x="130" y="2026"/>
                  </a:lnTo>
                  <a:lnTo>
                    <a:pt x="114" y="1995"/>
                  </a:lnTo>
                  <a:lnTo>
                    <a:pt x="100" y="1962"/>
                  </a:lnTo>
                  <a:lnTo>
                    <a:pt x="86" y="1926"/>
                  </a:lnTo>
                  <a:lnTo>
                    <a:pt x="74" y="1891"/>
                  </a:lnTo>
                  <a:lnTo>
                    <a:pt x="63" y="1852"/>
                  </a:lnTo>
                  <a:lnTo>
                    <a:pt x="53" y="1811"/>
                  </a:lnTo>
                  <a:lnTo>
                    <a:pt x="44" y="1769"/>
                  </a:lnTo>
                  <a:lnTo>
                    <a:pt x="36" y="1726"/>
                  </a:lnTo>
                  <a:lnTo>
                    <a:pt x="29" y="1682"/>
                  </a:lnTo>
                  <a:lnTo>
                    <a:pt x="23" y="1635"/>
                  </a:lnTo>
                  <a:lnTo>
                    <a:pt x="18" y="1587"/>
                  </a:lnTo>
                  <a:lnTo>
                    <a:pt x="13" y="1538"/>
                  </a:lnTo>
                  <a:lnTo>
                    <a:pt x="9" y="1488"/>
                  </a:lnTo>
                  <a:lnTo>
                    <a:pt x="6" y="1436"/>
                  </a:lnTo>
                  <a:lnTo>
                    <a:pt x="4" y="1383"/>
                  </a:lnTo>
                  <a:lnTo>
                    <a:pt x="2" y="1328"/>
                  </a:lnTo>
                  <a:lnTo>
                    <a:pt x="1" y="1272"/>
                  </a:lnTo>
                  <a:lnTo>
                    <a:pt x="1" y="1216"/>
                  </a:lnTo>
                  <a:lnTo>
                    <a:pt x="0" y="1159"/>
                  </a:lnTo>
                  <a:lnTo>
                    <a:pt x="1" y="1102"/>
                  </a:lnTo>
                  <a:lnTo>
                    <a:pt x="1" y="1045"/>
                  </a:lnTo>
                  <a:lnTo>
                    <a:pt x="2" y="989"/>
                  </a:lnTo>
                  <a:lnTo>
                    <a:pt x="4" y="933"/>
                  </a:lnTo>
                  <a:lnTo>
                    <a:pt x="6" y="878"/>
                  </a:lnTo>
                  <a:lnTo>
                    <a:pt x="9" y="823"/>
                  </a:lnTo>
                  <a:lnTo>
                    <a:pt x="13" y="770"/>
                  </a:lnTo>
                  <a:lnTo>
                    <a:pt x="18" y="718"/>
                  </a:lnTo>
                  <a:lnTo>
                    <a:pt x="23" y="667"/>
                  </a:lnTo>
                  <a:lnTo>
                    <a:pt x="29" y="617"/>
                  </a:lnTo>
                  <a:lnTo>
                    <a:pt x="36" y="569"/>
                  </a:lnTo>
                  <a:lnTo>
                    <a:pt x="44" y="521"/>
                  </a:lnTo>
                  <a:lnTo>
                    <a:pt x="53" y="477"/>
                  </a:lnTo>
                  <a:lnTo>
                    <a:pt x="63" y="432"/>
                  </a:lnTo>
                  <a:lnTo>
                    <a:pt x="74" y="390"/>
                  </a:lnTo>
                  <a:lnTo>
                    <a:pt x="86" y="349"/>
                  </a:lnTo>
                  <a:lnTo>
                    <a:pt x="100" y="310"/>
                  </a:lnTo>
                  <a:lnTo>
                    <a:pt x="114" y="272"/>
                  </a:lnTo>
                  <a:lnTo>
                    <a:pt x="130" y="238"/>
                  </a:lnTo>
                  <a:lnTo>
                    <a:pt x="147" y="205"/>
                  </a:lnTo>
                  <a:lnTo>
                    <a:pt x="166" y="174"/>
                  </a:lnTo>
                  <a:lnTo>
                    <a:pt x="186" y="145"/>
                  </a:lnTo>
                  <a:lnTo>
                    <a:pt x="208" y="118"/>
                  </a:lnTo>
                  <a:lnTo>
                    <a:pt x="231" y="95"/>
                  </a:lnTo>
                  <a:lnTo>
                    <a:pt x="256" y="74"/>
                  </a:lnTo>
                  <a:lnTo>
                    <a:pt x="282" y="55"/>
                  </a:lnTo>
                  <a:lnTo>
                    <a:pt x="310" y="39"/>
                  </a:lnTo>
                  <a:lnTo>
                    <a:pt x="340" y="25"/>
                  </a:lnTo>
                  <a:lnTo>
                    <a:pt x="371" y="14"/>
                  </a:lnTo>
                  <a:lnTo>
                    <a:pt x="405" y="6"/>
                  </a:lnTo>
                  <a:lnTo>
                    <a:pt x="440" y="2"/>
                  </a:lnTo>
                  <a:lnTo>
                    <a:pt x="477" y="0"/>
                  </a:lnTo>
                  <a:close/>
                </a:path>
              </a:pathLst>
            </a:custGeom>
            <a:noFill/>
            <a:ln w="635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3" name="Freeform 250"/>
            <p:cNvSpPr>
              <a:spLocks/>
            </p:cNvSpPr>
            <p:nvPr/>
          </p:nvSpPr>
          <p:spPr bwMode="auto">
            <a:xfrm>
              <a:off x="1540" y="2002"/>
              <a:ext cx="24" cy="49"/>
            </a:xfrm>
            <a:custGeom>
              <a:avLst/>
              <a:gdLst>
                <a:gd name="T0" fmla="*/ 0 w 1009"/>
                <a:gd name="T1" fmla="*/ 0 h 2120"/>
                <a:gd name="T2" fmla="*/ 0 w 1009"/>
                <a:gd name="T3" fmla="*/ 0 h 2120"/>
                <a:gd name="T4" fmla="*/ 0 w 1009"/>
                <a:gd name="T5" fmla="*/ 0 h 2120"/>
                <a:gd name="T6" fmla="*/ 0 w 1009"/>
                <a:gd name="T7" fmla="*/ 0 h 2120"/>
                <a:gd name="T8" fmla="*/ 0 w 1009"/>
                <a:gd name="T9" fmla="*/ 0 h 2120"/>
                <a:gd name="T10" fmla="*/ 0 w 1009"/>
                <a:gd name="T11" fmla="*/ 0 h 2120"/>
                <a:gd name="T12" fmla="*/ 0 w 1009"/>
                <a:gd name="T13" fmla="*/ 0 h 2120"/>
                <a:gd name="T14" fmla="*/ 0 w 1009"/>
                <a:gd name="T15" fmla="*/ 0 h 2120"/>
                <a:gd name="T16" fmla="*/ 0 w 1009"/>
                <a:gd name="T17" fmla="*/ 0 h 2120"/>
                <a:gd name="T18" fmla="*/ 0 w 1009"/>
                <a:gd name="T19" fmla="*/ 0 h 2120"/>
                <a:gd name="T20" fmla="*/ 0 w 1009"/>
                <a:gd name="T21" fmla="*/ 0 h 2120"/>
                <a:gd name="T22" fmla="*/ 0 w 1009"/>
                <a:gd name="T23" fmla="*/ 0 h 2120"/>
                <a:gd name="T24" fmla="*/ 0 w 1009"/>
                <a:gd name="T25" fmla="*/ 0 h 2120"/>
                <a:gd name="T26" fmla="*/ 0 w 1009"/>
                <a:gd name="T27" fmla="*/ 0 h 2120"/>
                <a:gd name="T28" fmla="*/ 0 w 1009"/>
                <a:gd name="T29" fmla="*/ 0 h 2120"/>
                <a:gd name="T30" fmla="*/ 0 w 1009"/>
                <a:gd name="T31" fmla="*/ 0 h 2120"/>
                <a:gd name="T32" fmla="*/ 0 w 1009"/>
                <a:gd name="T33" fmla="*/ 0 h 2120"/>
                <a:gd name="T34" fmla="*/ 0 w 1009"/>
                <a:gd name="T35" fmla="*/ 0 h 2120"/>
                <a:gd name="T36" fmla="*/ 0 w 1009"/>
                <a:gd name="T37" fmla="*/ 0 h 2120"/>
                <a:gd name="T38" fmla="*/ 0 w 1009"/>
                <a:gd name="T39" fmla="*/ 0 h 2120"/>
                <a:gd name="T40" fmla="*/ 0 w 1009"/>
                <a:gd name="T41" fmla="*/ 0 h 2120"/>
                <a:gd name="T42" fmla="*/ 0 w 1009"/>
                <a:gd name="T43" fmla="*/ 0 h 2120"/>
                <a:gd name="T44" fmla="*/ 0 w 1009"/>
                <a:gd name="T45" fmla="*/ 0 h 2120"/>
                <a:gd name="T46" fmla="*/ 0 w 1009"/>
                <a:gd name="T47" fmla="*/ 0 h 2120"/>
                <a:gd name="T48" fmla="*/ 0 w 1009"/>
                <a:gd name="T49" fmla="*/ 0 h 2120"/>
                <a:gd name="T50" fmla="*/ 0 w 1009"/>
                <a:gd name="T51" fmla="*/ 0 h 2120"/>
                <a:gd name="T52" fmla="*/ 0 w 1009"/>
                <a:gd name="T53" fmla="*/ 0 h 2120"/>
                <a:gd name="T54" fmla="*/ 0 w 1009"/>
                <a:gd name="T55" fmla="*/ 0 h 2120"/>
                <a:gd name="T56" fmla="*/ 0 w 1009"/>
                <a:gd name="T57" fmla="*/ 0 h 2120"/>
                <a:gd name="T58" fmla="*/ 0 w 1009"/>
                <a:gd name="T59" fmla="*/ 0 h 2120"/>
                <a:gd name="T60" fmla="*/ 0 w 1009"/>
                <a:gd name="T61" fmla="*/ 0 h 2120"/>
                <a:gd name="T62" fmla="*/ 0 w 1009"/>
                <a:gd name="T63" fmla="*/ 0 h 2120"/>
                <a:gd name="T64" fmla="*/ 0 w 1009"/>
                <a:gd name="T65" fmla="*/ 0 h 2120"/>
                <a:gd name="T66" fmla="*/ 0 w 1009"/>
                <a:gd name="T67" fmla="*/ 0 h 2120"/>
                <a:gd name="T68" fmla="*/ 0 w 1009"/>
                <a:gd name="T69" fmla="*/ 0 h 2120"/>
                <a:gd name="T70" fmla="*/ 0 w 1009"/>
                <a:gd name="T71" fmla="*/ 0 h 2120"/>
                <a:gd name="T72" fmla="*/ 0 w 1009"/>
                <a:gd name="T73" fmla="*/ 0 h 2120"/>
                <a:gd name="T74" fmla="*/ 0 w 1009"/>
                <a:gd name="T75" fmla="*/ 0 h 2120"/>
                <a:gd name="T76" fmla="*/ 0 w 1009"/>
                <a:gd name="T77" fmla="*/ 0 h 2120"/>
                <a:gd name="T78" fmla="*/ 0 w 1009"/>
                <a:gd name="T79" fmla="*/ 0 h 2120"/>
                <a:gd name="T80" fmla="*/ 0 w 1009"/>
                <a:gd name="T81" fmla="*/ 0 h 2120"/>
                <a:gd name="T82" fmla="*/ 0 w 1009"/>
                <a:gd name="T83" fmla="*/ 0 h 2120"/>
                <a:gd name="T84" fmla="*/ 0 w 1009"/>
                <a:gd name="T85" fmla="*/ 0 h 21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9"/>
                <a:gd name="T130" fmla="*/ 0 h 2120"/>
                <a:gd name="T131" fmla="*/ 1009 w 1009"/>
                <a:gd name="T132" fmla="*/ 2120 h 21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9" h="2120">
                  <a:moveTo>
                    <a:pt x="444" y="0"/>
                  </a:moveTo>
                  <a:lnTo>
                    <a:pt x="479" y="2"/>
                  </a:lnTo>
                  <a:lnTo>
                    <a:pt x="513" y="6"/>
                  </a:lnTo>
                  <a:lnTo>
                    <a:pt x="545" y="14"/>
                  </a:lnTo>
                  <a:lnTo>
                    <a:pt x="577" y="26"/>
                  </a:lnTo>
                  <a:lnTo>
                    <a:pt x="607" y="39"/>
                  </a:lnTo>
                  <a:lnTo>
                    <a:pt x="637" y="55"/>
                  </a:lnTo>
                  <a:lnTo>
                    <a:pt x="665" y="75"/>
                  </a:lnTo>
                  <a:lnTo>
                    <a:pt x="692" y="96"/>
                  </a:lnTo>
                  <a:lnTo>
                    <a:pt x="718" y="120"/>
                  </a:lnTo>
                  <a:lnTo>
                    <a:pt x="743" y="147"/>
                  </a:lnTo>
                  <a:lnTo>
                    <a:pt x="766" y="176"/>
                  </a:lnTo>
                  <a:lnTo>
                    <a:pt x="789" y="207"/>
                  </a:lnTo>
                  <a:lnTo>
                    <a:pt x="810" y="240"/>
                  </a:lnTo>
                  <a:lnTo>
                    <a:pt x="831" y="276"/>
                  </a:lnTo>
                  <a:lnTo>
                    <a:pt x="850" y="312"/>
                  </a:lnTo>
                  <a:lnTo>
                    <a:pt x="868" y="351"/>
                  </a:lnTo>
                  <a:lnTo>
                    <a:pt x="885" y="392"/>
                  </a:lnTo>
                  <a:lnTo>
                    <a:pt x="901" y="434"/>
                  </a:lnTo>
                  <a:lnTo>
                    <a:pt x="916" y="478"/>
                  </a:lnTo>
                  <a:lnTo>
                    <a:pt x="930" y="523"/>
                  </a:lnTo>
                  <a:lnTo>
                    <a:pt x="943" y="569"/>
                  </a:lnTo>
                  <a:lnTo>
                    <a:pt x="954" y="617"/>
                  </a:lnTo>
                  <a:lnTo>
                    <a:pt x="965" y="666"/>
                  </a:lnTo>
                  <a:lnTo>
                    <a:pt x="974" y="716"/>
                  </a:lnTo>
                  <a:lnTo>
                    <a:pt x="982" y="767"/>
                  </a:lnTo>
                  <a:lnTo>
                    <a:pt x="989" y="819"/>
                  </a:lnTo>
                  <a:lnTo>
                    <a:pt x="995" y="871"/>
                  </a:lnTo>
                  <a:lnTo>
                    <a:pt x="1000" y="924"/>
                  </a:lnTo>
                  <a:lnTo>
                    <a:pt x="1004" y="979"/>
                  </a:lnTo>
                  <a:lnTo>
                    <a:pt x="1007" y="1033"/>
                  </a:lnTo>
                  <a:lnTo>
                    <a:pt x="1009" y="1087"/>
                  </a:lnTo>
                  <a:lnTo>
                    <a:pt x="1009" y="1142"/>
                  </a:lnTo>
                  <a:lnTo>
                    <a:pt x="1009" y="1196"/>
                  </a:lnTo>
                  <a:lnTo>
                    <a:pt x="1007" y="1249"/>
                  </a:lnTo>
                  <a:lnTo>
                    <a:pt x="1004" y="1301"/>
                  </a:lnTo>
                  <a:lnTo>
                    <a:pt x="1000" y="1352"/>
                  </a:lnTo>
                  <a:lnTo>
                    <a:pt x="995" y="1401"/>
                  </a:lnTo>
                  <a:lnTo>
                    <a:pt x="989" y="1449"/>
                  </a:lnTo>
                  <a:lnTo>
                    <a:pt x="982" y="1496"/>
                  </a:lnTo>
                  <a:lnTo>
                    <a:pt x="974" y="1542"/>
                  </a:lnTo>
                  <a:lnTo>
                    <a:pt x="965" y="1586"/>
                  </a:lnTo>
                  <a:lnTo>
                    <a:pt x="954" y="1627"/>
                  </a:lnTo>
                  <a:lnTo>
                    <a:pt x="943" y="1669"/>
                  </a:lnTo>
                  <a:lnTo>
                    <a:pt x="930" y="1708"/>
                  </a:lnTo>
                  <a:lnTo>
                    <a:pt x="916" y="1747"/>
                  </a:lnTo>
                  <a:lnTo>
                    <a:pt x="901" y="1783"/>
                  </a:lnTo>
                  <a:lnTo>
                    <a:pt x="885" y="1817"/>
                  </a:lnTo>
                  <a:lnTo>
                    <a:pt x="868" y="1850"/>
                  </a:lnTo>
                  <a:lnTo>
                    <a:pt x="850" y="1881"/>
                  </a:lnTo>
                  <a:lnTo>
                    <a:pt x="831" y="1911"/>
                  </a:lnTo>
                  <a:lnTo>
                    <a:pt x="810" y="1939"/>
                  </a:lnTo>
                  <a:lnTo>
                    <a:pt x="789" y="1965"/>
                  </a:lnTo>
                  <a:lnTo>
                    <a:pt x="766" y="1989"/>
                  </a:lnTo>
                  <a:lnTo>
                    <a:pt x="743" y="2011"/>
                  </a:lnTo>
                  <a:lnTo>
                    <a:pt x="718" y="2031"/>
                  </a:lnTo>
                  <a:lnTo>
                    <a:pt x="692" y="2050"/>
                  </a:lnTo>
                  <a:lnTo>
                    <a:pt x="665" y="2066"/>
                  </a:lnTo>
                  <a:lnTo>
                    <a:pt x="637" y="2079"/>
                  </a:lnTo>
                  <a:lnTo>
                    <a:pt x="607" y="2092"/>
                  </a:lnTo>
                  <a:lnTo>
                    <a:pt x="577" y="2102"/>
                  </a:lnTo>
                  <a:lnTo>
                    <a:pt x="545" y="2110"/>
                  </a:lnTo>
                  <a:lnTo>
                    <a:pt x="513" y="2115"/>
                  </a:lnTo>
                  <a:lnTo>
                    <a:pt x="479" y="2119"/>
                  </a:lnTo>
                  <a:lnTo>
                    <a:pt x="444" y="2120"/>
                  </a:lnTo>
                  <a:lnTo>
                    <a:pt x="409" y="2118"/>
                  </a:lnTo>
                  <a:lnTo>
                    <a:pt x="377" y="2115"/>
                  </a:lnTo>
                  <a:lnTo>
                    <a:pt x="345" y="2109"/>
                  </a:lnTo>
                  <a:lnTo>
                    <a:pt x="316" y="2100"/>
                  </a:lnTo>
                  <a:lnTo>
                    <a:pt x="288" y="2090"/>
                  </a:lnTo>
                  <a:lnTo>
                    <a:pt x="262" y="2076"/>
                  </a:lnTo>
                  <a:lnTo>
                    <a:pt x="238" y="2061"/>
                  </a:lnTo>
                  <a:lnTo>
                    <a:pt x="215" y="2043"/>
                  </a:lnTo>
                  <a:lnTo>
                    <a:pt x="193" y="2023"/>
                  </a:lnTo>
                  <a:lnTo>
                    <a:pt x="173" y="2002"/>
                  </a:lnTo>
                  <a:lnTo>
                    <a:pt x="154" y="1977"/>
                  </a:lnTo>
                  <a:lnTo>
                    <a:pt x="137" y="1952"/>
                  </a:lnTo>
                  <a:lnTo>
                    <a:pt x="121" y="1924"/>
                  </a:lnTo>
                  <a:lnTo>
                    <a:pt x="106" y="1895"/>
                  </a:lnTo>
                  <a:lnTo>
                    <a:pt x="92" y="1863"/>
                  </a:lnTo>
                  <a:lnTo>
                    <a:pt x="80" y="1829"/>
                  </a:lnTo>
                  <a:lnTo>
                    <a:pt x="69" y="1795"/>
                  </a:lnTo>
                  <a:lnTo>
                    <a:pt x="58" y="1758"/>
                  </a:lnTo>
                  <a:lnTo>
                    <a:pt x="49" y="1720"/>
                  </a:lnTo>
                  <a:lnTo>
                    <a:pt x="41" y="1680"/>
                  </a:lnTo>
                  <a:lnTo>
                    <a:pt x="33" y="1640"/>
                  </a:lnTo>
                  <a:lnTo>
                    <a:pt x="27" y="1597"/>
                  </a:lnTo>
                  <a:lnTo>
                    <a:pt x="21" y="1552"/>
                  </a:lnTo>
                  <a:lnTo>
                    <a:pt x="16" y="1507"/>
                  </a:lnTo>
                  <a:lnTo>
                    <a:pt x="12" y="1460"/>
                  </a:lnTo>
                  <a:lnTo>
                    <a:pt x="9" y="1412"/>
                  </a:lnTo>
                  <a:lnTo>
                    <a:pt x="6" y="1363"/>
                  </a:lnTo>
                  <a:lnTo>
                    <a:pt x="4" y="1312"/>
                  </a:lnTo>
                  <a:lnTo>
                    <a:pt x="2" y="1261"/>
                  </a:lnTo>
                  <a:lnTo>
                    <a:pt x="1" y="1208"/>
                  </a:lnTo>
                  <a:lnTo>
                    <a:pt x="0" y="1155"/>
                  </a:lnTo>
                  <a:lnTo>
                    <a:pt x="0" y="1101"/>
                  </a:lnTo>
                  <a:lnTo>
                    <a:pt x="0" y="1046"/>
                  </a:lnTo>
                  <a:lnTo>
                    <a:pt x="1" y="992"/>
                  </a:lnTo>
                  <a:lnTo>
                    <a:pt x="2" y="938"/>
                  </a:lnTo>
                  <a:lnTo>
                    <a:pt x="4" y="886"/>
                  </a:lnTo>
                  <a:lnTo>
                    <a:pt x="6" y="834"/>
                  </a:lnTo>
                  <a:lnTo>
                    <a:pt x="9" y="782"/>
                  </a:lnTo>
                  <a:lnTo>
                    <a:pt x="12" y="732"/>
                  </a:lnTo>
                  <a:lnTo>
                    <a:pt x="16" y="682"/>
                  </a:lnTo>
                  <a:lnTo>
                    <a:pt x="21" y="634"/>
                  </a:lnTo>
                  <a:lnTo>
                    <a:pt x="27" y="586"/>
                  </a:lnTo>
                  <a:lnTo>
                    <a:pt x="33" y="540"/>
                  </a:lnTo>
                  <a:lnTo>
                    <a:pt x="41" y="495"/>
                  </a:lnTo>
                  <a:lnTo>
                    <a:pt x="49" y="452"/>
                  </a:lnTo>
                  <a:lnTo>
                    <a:pt x="58" y="410"/>
                  </a:lnTo>
                  <a:lnTo>
                    <a:pt x="69" y="369"/>
                  </a:lnTo>
                  <a:lnTo>
                    <a:pt x="80" y="331"/>
                  </a:lnTo>
                  <a:lnTo>
                    <a:pt x="92" y="294"/>
                  </a:lnTo>
                  <a:lnTo>
                    <a:pt x="106" y="258"/>
                  </a:lnTo>
                  <a:lnTo>
                    <a:pt x="121" y="226"/>
                  </a:lnTo>
                  <a:lnTo>
                    <a:pt x="137" y="194"/>
                  </a:lnTo>
                  <a:lnTo>
                    <a:pt x="154" y="164"/>
                  </a:lnTo>
                  <a:lnTo>
                    <a:pt x="173" y="138"/>
                  </a:lnTo>
                  <a:lnTo>
                    <a:pt x="193" y="112"/>
                  </a:lnTo>
                  <a:lnTo>
                    <a:pt x="215" y="90"/>
                  </a:lnTo>
                  <a:lnTo>
                    <a:pt x="238" y="69"/>
                  </a:lnTo>
                  <a:lnTo>
                    <a:pt x="262" y="51"/>
                  </a:lnTo>
                  <a:lnTo>
                    <a:pt x="288" y="36"/>
                  </a:lnTo>
                  <a:lnTo>
                    <a:pt x="316" y="24"/>
                  </a:lnTo>
                  <a:lnTo>
                    <a:pt x="345" y="13"/>
                  </a:lnTo>
                  <a:lnTo>
                    <a:pt x="377" y="6"/>
                  </a:lnTo>
                  <a:lnTo>
                    <a:pt x="409" y="1"/>
                  </a:lnTo>
                  <a:lnTo>
                    <a:pt x="4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4" name="Freeform 251"/>
            <p:cNvSpPr>
              <a:spLocks/>
            </p:cNvSpPr>
            <p:nvPr/>
          </p:nvSpPr>
          <p:spPr bwMode="auto">
            <a:xfrm>
              <a:off x="1540" y="2002"/>
              <a:ext cx="24" cy="49"/>
            </a:xfrm>
            <a:custGeom>
              <a:avLst/>
              <a:gdLst>
                <a:gd name="T0" fmla="*/ 0 w 1009"/>
                <a:gd name="T1" fmla="*/ 0 h 2120"/>
                <a:gd name="T2" fmla="*/ 0 w 1009"/>
                <a:gd name="T3" fmla="*/ 0 h 2120"/>
                <a:gd name="T4" fmla="*/ 0 w 1009"/>
                <a:gd name="T5" fmla="*/ 0 h 2120"/>
                <a:gd name="T6" fmla="*/ 0 w 1009"/>
                <a:gd name="T7" fmla="*/ 0 h 2120"/>
                <a:gd name="T8" fmla="*/ 0 w 1009"/>
                <a:gd name="T9" fmla="*/ 0 h 2120"/>
                <a:gd name="T10" fmla="*/ 0 w 1009"/>
                <a:gd name="T11" fmla="*/ 0 h 2120"/>
                <a:gd name="T12" fmla="*/ 0 w 1009"/>
                <a:gd name="T13" fmla="*/ 0 h 2120"/>
                <a:gd name="T14" fmla="*/ 0 w 1009"/>
                <a:gd name="T15" fmla="*/ 0 h 2120"/>
                <a:gd name="T16" fmla="*/ 0 w 1009"/>
                <a:gd name="T17" fmla="*/ 0 h 2120"/>
                <a:gd name="T18" fmla="*/ 0 w 1009"/>
                <a:gd name="T19" fmla="*/ 0 h 2120"/>
                <a:gd name="T20" fmla="*/ 0 w 1009"/>
                <a:gd name="T21" fmla="*/ 0 h 2120"/>
                <a:gd name="T22" fmla="*/ 0 w 1009"/>
                <a:gd name="T23" fmla="*/ 0 h 2120"/>
                <a:gd name="T24" fmla="*/ 0 w 1009"/>
                <a:gd name="T25" fmla="*/ 0 h 2120"/>
                <a:gd name="T26" fmla="*/ 0 w 1009"/>
                <a:gd name="T27" fmla="*/ 0 h 2120"/>
                <a:gd name="T28" fmla="*/ 0 w 1009"/>
                <a:gd name="T29" fmla="*/ 0 h 2120"/>
                <a:gd name="T30" fmla="*/ 0 w 1009"/>
                <a:gd name="T31" fmla="*/ 0 h 2120"/>
                <a:gd name="T32" fmla="*/ 0 w 1009"/>
                <a:gd name="T33" fmla="*/ 0 h 2120"/>
                <a:gd name="T34" fmla="*/ 0 w 1009"/>
                <a:gd name="T35" fmla="*/ 0 h 2120"/>
                <a:gd name="T36" fmla="*/ 0 w 1009"/>
                <a:gd name="T37" fmla="*/ 0 h 2120"/>
                <a:gd name="T38" fmla="*/ 0 w 1009"/>
                <a:gd name="T39" fmla="*/ 0 h 2120"/>
                <a:gd name="T40" fmla="*/ 0 w 1009"/>
                <a:gd name="T41" fmla="*/ 0 h 2120"/>
                <a:gd name="T42" fmla="*/ 0 w 1009"/>
                <a:gd name="T43" fmla="*/ 0 h 2120"/>
                <a:gd name="T44" fmla="*/ 0 w 1009"/>
                <a:gd name="T45" fmla="*/ 0 h 2120"/>
                <a:gd name="T46" fmla="*/ 0 w 1009"/>
                <a:gd name="T47" fmla="*/ 0 h 2120"/>
                <a:gd name="T48" fmla="*/ 0 w 1009"/>
                <a:gd name="T49" fmla="*/ 0 h 2120"/>
                <a:gd name="T50" fmla="*/ 0 w 1009"/>
                <a:gd name="T51" fmla="*/ 0 h 2120"/>
                <a:gd name="T52" fmla="*/ 0 w 1009"/>
                <a:gd name="T53" fmla="*/ 0 h 2120"/>
                <a:gd name="T54" fmla="*/ 0 w 1009"/>
                <a:gd name="T55" fmla="*/ 0 h 2120"/>
                <a:gd name="T56" fmla="*/ 0 w 1009"/>
                <a:gd name="T57" fmla="*/ 0 h 2120"/>
                <a:gd name="T58" fmla="*/ 0 w 1009"/>
                <a:gd name="T59" fmla="*/ 0 h 2120"/>
                <a:gd name="T60" fmla="*/ 0 w 1009"/>
                <a:gd name="T61" fmla="*/ 0 h 2120"/>
                <a:gd name="T62" fmla="*/ 0 w 1009"/>
                <a:gd name="T63" fmla="*/ 0 h 2120"/>
                <a:gd name="T64" fmla="*/ 0 w 1009"/>
                <a:gd name="T65" fmla="*/ 0 h 2120"/>
                <a:gd name="T66" fmla="*/ 0 w 1009"/>
                <a:gd name="T67" fmla="*/ 0 h 2120"/>
                <a:gd name="T68" fmla="*/ 0 w 1009"/>
                <a:gd name="T69" fmla="*/ 0 h 2120"/>
                <a:gd name="T70" fmla="*/ 0 w 1009"/>
                <a:gd name="T71" fmla="*/ 0 h 2120"/>
                <a:gd name="T72" fmla="*/ 0 w 1009"/>
                <a:gd name="T73" fmla="*/ 0 h 2120"/>
                <a:gd name="T74" fmla="*/ 0 w 1009"/>
                <a:gd name="T75" fmla="*/ 0 h 2120"/>
                <a:gd name="T76" fmla="*/ 0 w 1009"/>
                <a:gd name="T77" fmla="*/ 0 h 2120"/>
                <a:gd name="T78" fmla="*/ 0 w 1009"/>
                <a:gd name="T79" fmla="*/ 0 h 2120"/>
                <a:gd name="T80" fmla="*/ 0 w 1009"/>
                <a:gd name="T81" fmla="*/ 0 h 2120"/>
                <a:gd name="T82" fmla="*/ 0 w 1009"/>
                <a:gd name="T83" fmla="*/ 0 h 2120"/>
                <a:gd name="T84" fmla="*/ 0 w 1009"/>
                <a:gd name="T85" fmla="*/ 0 h 21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9"/>
                <a:gd name="T130" fmla="*/ 0 h 2120"/>
                <a:gd name="T131" fmla="*/ 1009 w 1009"/>
                <a:gd name="T132" fmla="*/ 2120 h 21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9" h="2120">
                  <a:moveTo>
                    <a:pt x="444" y="0"/>
                  </a:moveTo>
                  <a:lnTo>
                    <a:pt x="479" y="2"/>
                  </a:lnTo>
                  <a:lnTo>
                    <a:pt x="513" y="6"/>
                  </a:lnTo>
                  <a:lnTo>
                    <a:pt x="545" y="14"/>
                  </a:lnTo>
                  <a:lnTo>
                    <a:pt x="577" y="26"/>
                  </a:lnTo>
                  <a:lnTo>
                    <a:pt x="607" y="39"/>
                  </a:lnTo>
                  <a:lnTo>
                    <a:pt x="637" y="55"/>
                  </a:lnTo>
                  <a:lnTo>
                    <a:pt x="665" y="75"/>
                  </a:lnTo>
                  <a:lnTo>
                    <a:pt x="692" y="96"/>
                  </a:lnTo>
                  <a:lnTo>
                    <a:pt x="718" y="120"/>
                  </a:lnTo>
                  <a:lnTo>
                    <a:pt x="743" y="147"/>
                  </a:lnTo>
                  <a:lnTo>
                    <a:pt x="766" y="176"/>
                  </a:lnTo>
                  <a:lnTo>
                    <a:pt x="789" y="207"/>
                  </a:lnTo>
                  <a:lnTo>
                    <a:pt x="810" y="240"/>
                  </a:lnTo>
                  <a:lnTo>
                    <a:pt x="831" y="276"/>
                  </a:lnTo>
                  <a:lnTo>
                    <a:pt x="850" y="312"/>
                  </a:lnTo>
                  <a:lnTo>
                    <a:pt x="868" y="351"/>
                  </a:lnTo>
                  <a:lnTo>
                    <a:pt x="885" y="392"/>
                  </a:lnTo>
                  <a:lnTo>
                    <a:pt x="901" y="434"/>
                  </a:lnTo>
                  <a:lnTo>
                    <a:pt x="916" y="478"/>
                  </a:lnTo>
                  <a:lnTo>
                    <a:pt x="930" y="523"/>
                  </a:lnTo>
                  <a:lnTo>
                    <a:pt x="943" y="569"/>
                  </a:lnTo>
                  <a:lnTo>
                    <a:pt x="954" y="617"/>
                  </a:lnTo>
                  <a:lnTo>
                    <a:pt x="965" y="666"/>
                  </a:lnTo>
                  <a:lnTo>
                    <a:pt x="974" y="716"/>
                  </a:lnTo>
                  <a:lnTo>
                    <a:pt x="982" y="767"/>
                  </a:lnTo>
                  <a:lnTo>
                    <a:pt x="989" y="819"/>
                  </a:lnTo>
                  <a:lnTo>
                    <a:pt x="995" y="871"/>
                  </a:lnTo>
                  <a:lnTo>
                    <a:pt x="1000" y="924"/>
                  </a:lnTo>
                  <a:lnTo>
                    <a:pt x="1004" y="979"/>
                  </a:lnTo>
                  <a:lnTo>
                    <a:pt x="1007" y="1033"/>
                  </a:lnTo>
                  <a:lnTo>
                    <a:pt x="1009" y="1087"/>
                  </a:lnTo>
                  <a:lnTo>
                    <a:pt x="1009" y="1142"/>
                  </a:lnTo>
                  <a:lnTo>
                    <a:pt x="1009" y="1196"/>
                  </a:lnTo>
                  <a:lnTo>
                    <a:pt x="1007" y="1249"/>
                  </a:lnTo>
                  <a:lnTo>
                    <a:pt x="1004" y="1301"/>
                  </a:lnTo>
                  <a:lnTo>
                    <a:pt x="1000" y="1352"/>
                  </a:lnTo>
                  <a:lnTo>
                    <a:pt x="995" y="1401"/>
                  </a:lnTo>
                  <a:lnTo>
                    <a:pt x="989" y="1449"/>
                  </a:lnTo>
                  <a:lnTo>
                    <a:pt x="982" y="1496"/>
                  </a:lnTo>
                  <a:lnTo>
                    <a:pt x="974" y="1542"/>
                  </a:lnTo>
                  <a:lnTo>
                    <a:pt x="965" y="1586"/>
                  </a:lnTo>
                  <a:lnTo>
                    <a:pt x="954" y="1627"/>
                  </a:lnTo>
                  <a:lnTo>
                    <a:pt x="943" y="1669"/>
                  </a:lnTo>
                  <a:lnTo>
                    <a:pt x="930" y="1708"/>
                  </a:lnTo>
                  <a:lnTo>
                    <a:pt x="916" y="1747"/>
                  </a:lnTo>
                  <a:lnTo>
                    <a:pt x="901" y="1783"/>
                  </a:lnTo>
                  <a:lnTo>
                    <a:pt x="885" y="1817"/>
                  </a:lnTo>
                  <a:lnTo>
                    <a:pt x="868" y="1850"/>
                  </a:lnTo>
                  <a:lnTo>
                    <a:pt x="850" y="1881"/>
                  </a:lnTo>
                  <a:lnTo>
                    <a:pt x="831" y="1911"/>
                  </a:lnTo>
                  <a:lnTo>
                    <a:pt x="810" y="1939"/>
                  </a:lnTo>
                  <a:lnTo>
                    <a:pt x="789" y="1965"/>
                  </a:lnTo>
                  <a:lnTo>
                    <a:pt x="766" y="1989"/>
                  </a:lnTo>
                  <a:lnTo>
                    <a:pt x="743" y="2011"/>
                  </a:lnTo>
                  <a:lnTo>
                    <a:pt x="718" y="2031"/>
                  </a:lnTo>
                  <a:lnTo>
                    <a:pt x="692" y="2050"/>
                  </a:lnTo>
                  <a:lnTo>
                    <a:pt x="665" y="2066"/>
                  </a:lnTo>
                  <a:lnTo>
                    <a:pt x="637" y="2079"/>
                  </a:lnTo>
                  <a:lnTo>
                    <a:pt x="607" y="2092"/>
                  </a:lnTo>
                  <a:lnTo>
                    <a:pt x="577" y="2102"/>
                  </a:lnTo>
                  <a:lnTo>
                    <a:pt x="545" y="2110"/>
                  </a:lnTo>
                  <a:lnTo>
                    <a:pt x="513" y="2115"/>
                  </a:lnTo>
                  <a:lnTo>
                    <a:pt x="479" y="2119"/>
                  </a:lnTo>
                  <a:lnTo>
                    <a:pt x="444" y="2120"/>
                  </a:lnTo>
                  <a:lnTo>
                    <a:pt x="409" y="2118"/>
                  </a:lnTo>
                  <a:lnTo>
                    <a:pt x="377" y="2115"/>
                  </a:lnTo>
                  <a:lnTo>
                    <a:pt x="345" y="2109"/>
                  </a:lnTo>
                  <a:lnTo>
                    <a:pt x="316" y="2100"/>
                  </a:lnTo>
                  <a:lnTo>
                    <a:pt x="288" y="2090"/>
                  </a:lnTo>
                  <a:lnTo>
                    <a:pt x="262" y="2076"/>
                  </a:lnTo>
                  <a:lnTo>
                    <a:pt x="238" y="2061"/>
                  </a:lnTo>
                  <a:lnTo>
                    <a:pt x="215" y="2043"/>
                  </a:lnTo>
                  <a:lnTo>
                    <a:pt x="193" y="2023"/>
                  </a:lnTo>
                  <a:lnTo>
                    <a:pt x="173" y="2002"/>
                  </a:lnTo>
                  <a:lnTo>
                    <a:pt x="154" y="1977"/>
                  </a:lnTo>
                  <a:lnTo>
                    <a:pt x="137" y="1952"/>
                  </a:lnTo>
                  <a:lnTo>
                    <a:pt x="121" y="1924"/>
                  </a:lnTo>
                  <a:lnTo>
                    <a:pt x="106" y="1895"/>
                  </a:lnTo>
                  <a:lnTo>
                    <a:pt x="92" y="1863"/>
                  </a:lnTo>
                  <a:lnTo>
                    <a:pt x="80" y="1829"/>
                  </a:lnTo>
                  <a:lnTo>
                    <a:pt x="69" y="1795"/>
                  </a:lnTo>
                  <a:lnTo>
                    <a:pt x="58" y="1758"/>
                  </a:lnTo>
                  <a:lnTo>
                    <a:pt x="49" y="1720"/>
                  </a:lnTo>
                  <a:lnTo>
                    <a:pt x="41" y="1680"/>
                  </a:lnTo>
                  <a:lnTo>
                    <a:pt x="33" y="1640"/>
                  </a:lnTo>
                  <a:lnTo>
                    <a:pt x="27" y="1597"/>
                  </a:lnTo>
                  <a:lnTo>
                    <a:pt x="21" y="1552"/>
                  </a:lnTo>
                  <a:lnTo>
                    <a:pt x="16" y="1507"/>
                  </a:lnTo>
                  <a:lnTo>
                    <a:pt x="12" y="1460"/>
                  </a:lnTo>
                  <a:lnTo>
                    <a:pt x="9" y="1412"/>
                  </a:lnTo>
                  <a:lnTo>
                    <a:pt x="6" y="1363"/>
                  </a:lnTo>
                  <a:lnTo>
                    <a:pt x="4" y="1312"/>
                  </a:lnTo>
                  <a:lnTo>
                    <a:pt x="2" y="1261"/>
                  </a:lnTo>
                  <a:lnTo>
                    <a:pt x="1" y="1208"/>
                  </a:lnTo>
                  <a:lnTo>
                    <a:pt x="0" y="1155"/>
                  </a:lnTo>
                  <a:lnTo>
                    <a:pt x="0" y="1101"/>
                  </a:lnTo>
                  <a:lnTo>
                    <a:pt x="0" y="1046"/>
                  </a:lnTo>
                  <a:lnTo>
                    <a:pt x="1" y="992"/>
                  </a:lnTo>
                  <a:lnTo>
                    <a:pt x="2" y="938"/>
                  </a:lnTo>
                  <a:lnTo>
                    <a:pt x="4" y="886"/>
                  </a:lnTo>
                  <a:lnTo>
                    <a:pt x="6" y="834"/>
                  </a:lnTo>
                  <a:lnTo>
                    <a:pt x="9" y="782"/>
                  </a:lnTo>
                  <a:lnTo>
                    <a:pt x="12" y="732"/>
                  </a:lnTo>
                  <a:lnTo>
                    <a:pt x="16" y="682"/>
                  </a:lnTo>
                  <a:lnTo>
                    <a:pt x="21" y="634"/>
                  </a:lnTo>
                  <a:lnTo>
                    <a:pt x="27" y="586"/>
                  </a:lnTo>
                  <a:lnTo>
                    <a:pt x="33" y="540"/>
                  </a:lnTo>
                  <a:lnTo>
                    <a:pt x="41" y="495"/>
                  </a:lnTo>
                  <a:lnTo>
                    <a:pt x="49" y="452"/>
                  </a:lnTo>
                  <a:lnTo>
                    <a:pt x="58" y="410"/>
                  </a:lnTo>
                  <a:lnTo>
                    <a:pt x="69" y="369"/>
                  </a:lnTo>
                  <a:lnTo>
                    <a:pt x="80" y="331"/>
                  </a:lnTo>
                  <a:lnTo>
                    <a:pt x="92" y="294"/>
                  </a:lnTo>
                  <a:lnTo>
                    <a:pt x="106" y="258"/>
                  </a:lnTo>
                  <a:lnTo>
                    <a:pt x="121" y="226"/>
                  </a:lnTo>
                  <a:lnTo>
                    <a:pt x="137" y="194"/>
                  </a:lnTo>
                  <a:lnTo>
                    <a:pt x="154" y="164"/>
                  </a:lnTo>
                  <a:lnTo>
                    <a:pt x="173" y="138"/>
                  </a:lnTo>
                  <a:lnTo>
                    <a:pt x="193" y="112"/>
                  </a:lnTo>
                  <a:lnTo>
                    <a:pt x="215" y="90"/>
                  </a:lnTo>
                  <a:lnTo>
                    <a:pt x="238" y="69"/>
                  </a:lnTo>
                  <a:lnTo>
                    <a:pt x="262" y="51"/>
                  </a:lnTo>
                  <a:lnTo>
                    <a:pt x="288" y="36"/>
                  </a:lnTo>
                  <a:lnTo>
                    <a:pt x="316" y="24"/>
                  </a:lnTo>
                  <a:lnTo>
                    <a:pt x="345" y="13"/>
                  </a:lnTo>
                  <a:lnTo>
                    <a:pt x="377" y="6"/>
                  </a:lnTo>
                  <a:lnTo>
                    <a:pt x="409" y="1"/>
                  </a:lnTo>
                  <a:lnTo>
                    <a:pt x="444" y="0"/>
                  </a:lnTo>
                  <a:close/>
                </a:path>
              </a:pathLst>
            </a:custGeom>
            <a:noFill/>
            <a:ln w="635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5" name="Freeform 252"/>
            <p:cNvSpPr>
              <a:spLocks/>
            </p:cNvSpPr>
            <p:nvPr/>
          </p:nvSpPr>
          <p:spPr bwMode="auto">
            <a:xfrm>
              <a:off x="1621" y="1908"/>
              <a:ext cx="43" cy="44"/>
            </a:xfrm>
            <a:custGeom>
              <a:avLst/>
              <a:gdLst>
                <a:gd name="T0" fmla="*/ 0 w 1802"/>
                <a:gd name="T1" fmla="*/ 0 h 1921"/>
                <a:gd name="T2" fmla="*/ 0 w 1802"/>
                <a:gd name="T3" fmla="*/ 0 h 1921"/>
                <a:gd name="T4" fmla="*/ 0 w 1802"/>
                <a:gd name="T5" fmla="*/ 0 h 1921"/>
                <a:gd name="T6" fmla="*/ 0 w 1802"/>
                <a:gd name="T7" fmla="*/ 0 h 1921"/>
                <a:gd name="T8" fmla="*/ 0 w 1802"/>
                <a:gd name="T9" fmla="*/ 0 h 1921"/>
                <a:gd name="T10" fmla="*/ 0 w 1802"/>
                <a:gd name="T11" fmla="*/ 0 h 1921"/>
                <a:gd name="T12" fmla="*/ 0 w 1802"/>
                <a:gd name="T13" fmla="*/ 0 h 1921"/>
                <a:gd name="T14" fmla="*/ 0 w 1802"/>
                <a:gd name="T15" fmla="*/ 0 h 1921"/>
                <a:gd name="T16" fmla="*/ 0 w 1802"/>
                <a:gd name="T17" fmla="*/ 0 h 1921"/>
                <a:gd name="T18" fmla="*/ 0 w 1802"/>
                <a:gd name="T19" fmla="*/ 0 h 1921"/>
                <a:gd name="T20" fmla="*/ 0 w 1802"/>
                <a:gd name="T21" fmla="*/ 0 h 1921"/>
                <a:gd name="T22" fmla="*/ 0 w 1802"/>
                <a:gd name="T23" fmla="*/ 0 h 1921"/>
                <a:gd name="T24" fmla="*/ 0 w 1802"/>
                <a:gd name="T25" fmla="*/ 0 h 1921"/>
                <a:gd name="T26" fmla="*/ 0 w 1802"/>
                <a:gd name="T27" fmla="*/ 0 h 1921"/>
                <a:gd name="T28" fmla="*/ 0 w 1802"/>
                <a:gd name="T29" fmla="*/ 0 h 1921"/>
                <a:gd name="T30" fmla="*/ 0 w 1802"/>
                <a:gd name="T31" fmla="*/ 0 h 1921"/>
                <a:gd name="T32" fmla="*/ 0 w 1802"/>
                <a:gd name="T33" fmla="*/ 0 h 1921"/>
                <a:gd name="T34" fmla="*/ 0 w 1802"/>
                <a:gd name="T35" fmla="*/ 0 h 1921"/>
                <a:gd name="T36" fmla="*/ 0 w 1802"/>
                <a:gd name="T37" fmla="*/ 0 h 1921"/>
                <a:gd name="T38" fmla="*/ 0 w 1802"/>
                <a:gd name="T39" fmla="*/ 0 h 1921"/>
                <a:gd name="T40" fmla="*/ 0 w 1802"/>
                <a:gd name="T41" fmla="*/ 0 h 1921"/>
                <a:gd name="T42" fmla="*/ 0 w 1802"/>
                <a:gd name="T43" fmla="*/ 0 h 1921"/>
                <a:gd name="T44" fmla="*/ 0 w 1802"/>
                <a:gd name="T45" fmla="*/ 0 h 1921"/>
                <a:gd name="T46" fmla="*/ 0 w 1802"/>
                <a:gd name="T47" fmla="*/ 0 h 1921"/>
                <a:gd name="T48" fmla="*/ 0 w 1802"/>
                <a:gd name="T49" fmla="*/ 0 h 1921"/>
                <a:gd name="T50" fmla="*/ 0 w 1802"/>
                <a:gd name="T51" fmla="*/ 0 h 1921"/>
                <a:gd name="T52" fmla="*/ 0 w 1802"/>
                <a:gd name="T53" fmla="*/ 0 h 1921"/>
                <a:gd name="T54" fmla="*/ 0 w 1802"/>
                <a:gd name="T55" fmla="*/ 0 h 1921"/>
                <a:gd name="T56" fmla="*/ 0 w 1802"/>
                <a:gd name="T57" fmla="*/ 0 h 1921"/>
                <a:gd name="T58" fmla="*/ 0 w 1802"/>
                <a:gd name="T59" fmla="*/ 0 h 1921"/>
                <a:gd name="T60" fmla="*/ 0 w 1802"/>
                <a:gd name="T61" fmla="*/ 0 h 1921"/>
                <a:gd name="T62" fmla="*/ 0 w 1802"/>
                <a:gd name="T63" fmla="*/ 0 h 1921"/>
                <a:gd name="T64" fmla="*/ 0 w 1802"/>
                <a:gd name="T65" fmla="*/ 0 h 1921"/>
                <a:gd name="T66" fmla="*/ 0 w 1802"/>
                <a:gd name="T67" fmla="*/ 0 h 1921"/>
                <a:gd name="T68" fmla="*/ 0 w 1802"/>
                <a:gd name="T69" fmla="*/ 0 h 1921"/>
                <a:gd name="T70" fmla="*/ 0 w 1802"/>
                <a:gd name="T71" fmla="*/ 0 h 1921"/>
                <a:gd name="T72" fmla="*/ 0 w 1802"/>
                <a:gd name="T73" fmla="*/ 0 h 1921"/>
                <a:gd name="T74" fmla="*/ 0 w 1802"/>
                <a:gd name="T75" fmla="*/ 0 h 1921"/>
                <a:gd name="T76" fmla="*/ 0 w 1802"/>
                <a:gd name="T77" fmla="*/ 0 h 1921"/>
                <a:gd name="T78" fmla="*/ 0 w 1802"/>
                <a:gd name="T79" fmla="*/ 0 h 1921"/>
                <a:gd name="T80" fmla="*/ 0 w 1802"/>
                <a:gd name="T81" fmla="*/ 0 h 1921"/>
                <a:gd name="T82" fmla="*/ 0 w 1802"/>
                <a:gd name="T83" fmla="*/ 0 h 1921"/>
                <a:gd name="T84" fmla="*/ 0 w 1802"/>
                <a:gd name="T85" fmla="*/ 0 h 192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02"/>
                <a:gd name="T130" fmla="*/ 0 h 1921"/>
                <a:gd name="T131" fmla="*/ 1802 w 1802"/>
                <a:gd name="T132" fmla="*/ 1921 h 192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02" h="1921">
                  <a:moveTo>
                    <a:pt x="901" y="0"/>
                  </a:moveTo>
                  <a:lnTo>
                    <a:pt x="947" y="1"/>
                  </a:lnTo>
                  <a:lnTo>
                    <a:pt x="993" y="5"/>
                  </a:lnTo>
                  <a:lnTo>
                    <a:pt x="1038" y="11"/>
                  </a:lnTo>
                  <a:lnTo>
                    <a:pt x="1082" y="19"/>
                  </a:lnTo>
                  <a:lnTo>
                    <a:pt x="1126" y="30"/>
                  </a:lnTo>
                  <a:lnTo>
                    <a:pt x="1168" y="43"/>
                  </a:lnTo>
                  <a:lnTo>
                    <a:pt x="1210" y="58"/>
                  </a:lnTo>
                  <a:lnTo>
                    <a:pt x="1251" y="75"/>
                  </a:lnTo>
                  <a:lnTo>
                    <a:pt x="1291" y="95"/>
                  </a:lnTo>
                  <a:lnTo>
                    <a:pt x="1330" y="116"/>
                  </a:lnTo>
                  <a:lnTo>
                    <a:pt x="1368" y="138"/>
                  </a:lnTo>
                  <a:lnTo>
                    <a:pt x="1404" y="164"/>
                  </a:lnTo>
                  <a:lnTo>
                    <a:pt x="1439" y="190"/>
                  </a:lnTo>
                  <a:lnTo>
                    <a:pt x="1474" y="219"/>
                  </a:lnTo>
                  <a:lnTo>
                    <a:pt x="1506" y="250"/>
                  </a:lnTo>
                  <a:lnTo>
                    <a:pt x="1538" y="281"/>
                  </a:lnTo>
                  <a:lnTo>
                    <a:pt x="1567" y="314"/>
                  </a:lnTo>
                  <a:lnTo>
                    <a:pt x="1596" y="350"/>
                  </a:lnTo>
                  <a:lnTo>
                    <a:pt x="1622" y="385"/>
                  </a:lnTo>
                  <a:lnTo>
                    <a:pt x="1648" y="423"/>
                  </a:lnTo>
                  <a:lnTo>
                    <a:pt x="1671" y="463"/>
                  </a:lnTo>
                  <a:lnTo>
                    <a:pt x="1693" y="503"/>
                  </a:lnTo>
                  <a:lnTo>
                    <a:pt x="1712" y="543"/>
                  </a:lnTo>
                  <a:lnTo>
                    <a:pt x="1731" y="586"/>
                  </a:lnTo>
                  <a:lnTo>
                    <a:pt x="1747" y="630"/>
                  </a:lnTo>
                  <a:lnTo>
                    <a:pt x="1761" y="675"/>
                  </a:lnTo>
                  <a:lnTo>
                    <a:pt x="1773" y="720"/>
                  </a:lnTo>
                  <a:lnTo>
                    <a:pt x="1783" y="767"/>
                  </a:lnTo>
                  <a:lnTo>
                    <a:pt x="1791" y="814"/>
                  </a:lnTo>
                  <a:lnTo>
                    <a:pt x="1797" y="862"/>
                  </a:lnTo>
                  <a:lnTo>
                    <a:pt x="1800" y="911"/>
                  </a:lnTo>
                  <a:lnTo>
                    <a:pt x="1802" y="960"/>
                  </a:lnTo>
                  <a:lnTo>
                    <a:pt x="1800" y="1010"/>
                  </a:lnTo>
                  <a:lnTo>
                    <a:pt x="1797" y="1059"/>
                  </a:lnTo>
                  <a:lnTo>
                    <a:pt x="1791" y="1107"/>
                  </a:lnTo>
                  <a:lnTo>
                    <a:pt x="1783" y="1154"/>
                  </a:lnTo>
                  <a:lnTo>
                    <a:pt x="1773" y="1201"/>
                  </a:lnTo>
                  <a:lnTo>
                    <a:pt x="1761" y="1245"/>
                  </a:lnTo>
                  <a:lnTo>
                    <a:pt x="1747" y="1290"/>
                  </a:lnTo>
                  <a:lnTo>
                    <a:pt x="1731" y="1334"/>
                  </a:lnTo>
                  <a:lnTo>
                    <a:pt x="1712" y="1377"/>
                  </a:lnTo>
                  <a:lnTo>
                    <a:pt x="1693" y="1418"/>
                  </a:lnTo>
                  <a:lnTo>
                    <a:pt x="1671" y="1459"/>
                  </a:lnTo>
                  <a:lnTo>
                    <a:pt x="1648" y="1497"/>
                  </a:lnTo>
                  <a:lnTo>
                    <a:pt x="1622" y="1535"/>
                  </a:lnTo>
                  <a:lnTo>
                    <a:pt x="1596" y="1571"/>
                  </a:lnTo>
                  <a:lnTo>
                    <a:pt x="1567" y="1606"/>
                  </a:lnTo>
                  <a:lnTo>
                    <a:pt x="1538" y="1639"/>
                  </a:lnTo>
                  <a:lnTo>
                    <a:pt x="1506" y="1671"/>
                  </a:lnTo>
                  <a:lnTo>
                    <a:pt x="1474" y="1701"/>
                  </a:lnTo>
                  <a:lnTo>
                    <a:pt x="1439" y="1730"/>
                  </a:lnTo>
                  <a:lnTo>
                    <a:pt x="1404" y="1757"/>
                  </a:lnTo>
                  <a:lnTo>
                    <a:pt x="1368" y="1782"/>
                  </a:lnTo>
                  <a:lnTo>
                    <a:pt x="1330" y="1805"/>
                  </a:lnTo>
                  <a:lnTo>
                    <a:pt x="1291" y="1826"/>
                  </a:lnTo>
                  <a:lnTo>
                    <a:pt x="1251" y="1845"/>
                  </a:lnTo>
                  <a:lnTo>
                    <a:pt x="1210" y="1863"/>
                  </a:lnTo>
                  <a:lnTo>
                    <a:pt x="1168" y="1878"/>
                  </a:lnTo>
                  <a:lnTo>
                    <a:pt x="1126" y="1890"/>
                  </a:lnTo>
                  <a:lnTo>
                    <a:pt x="1082" y="1901"/>
                  </a:lnTo>
                  <a:lnTo>
                    <a:pt x="1038" y="1910"/>
                  </a:lnTo>
                  <a:lnTo>
                    <a:pt x="993" y="1916"/>
                  </a:lnTo>
                  <a:lnTo>
                    <a:pt x="947" y="1920"/>
                  </a:lnTo>
                  <a:lnTo>
                    <a:pt x="901" y="1921"/>
                  </a:lnTo>
                  <a:lnTo>
                    <a:pt x="854" y="1920"/>
                  </a:lnTo>
                  <a:lnTo>
                    <a:pt x="809" y="1916"/>
                  </a:lnTo>
                  <a:lnTo>
                    <a:pt x="763" y="1910"/>
                  </a:lnTo>
                  <a:lnTo>
                    <a:pt x="719" y="1901"/>
                  </a:lnTo>
                  <a:lnTo>
                    <a:pt x="675" y="1890"/>
                  </a:lnTo>
                  <a:lnTo>
                    <a:pt x="633" y="1878"/>
                  </a:lnTo>
                  <a:lnTo>
                    <a:pt x="591" y="1863"/>
                  </a:lnTo>
                  <a:lnTo>
                    <a:pt x="550" y="1845"/>
                  </a:lnTo>
                  <a:lnTo>
                    <a:pt x="510" y="1826"/>
                  </a:lnTo>
                  <a:lnTo>
                    <a:pt x="471" y="1805"/>
                  </a:lnTo>
                  <a:lnTo>
                    <a:pt x="433" y="1782"/>
                  </a:lnTo>
                  <a:lnTo>
                    <a:pt x="397" y="1757"/>
                  </a:lnTo>
                  <a:lnTo>
                    <a:pt x="361" y="1730"/>
                  </a:lnTo>
                  <a:lnTo>
                    <a:pt x="327" y="1701"/>
                  </a:lnTo>
                  <a:lnTo>
                    <a:pt x="295" y="1671"/>
                  </a:lnTo>
                  <a:lnTo>
                    <a:pt x="264" y="1639"/>
                  </a:lnTo>
                  <a:lnTo>
                    <a:pt x="234" y="1606"/>
                  </a:lnTo>
                  <a:lnTo>
                    <a:pt x="205" y="1571"/>
                  </a:lnTo>
                  <a:lnTo>
                    <a:pt x="179" y="1535"/>
                  </a:lnTo>
                  <a:lnTo>
                    <a:pt x="154" y="1497"/>
                  </a:lnTo>
                  <a:lnTo>
                    <a:pt x="130" y="1459"/>
                  </a:lnTo>
                  <a:lnTo>
                    <a:pt x="108" y="1418"/>
                  </a:lnTo>
                  <a:lnTo>
                    <a:pt x="89" y="1377"/>
                  </a:lnTo>
                  <a:lnTo>
                    <a:pt x="71" y="1334"/>
                  </a:lnTo>
                  <a:lnTo>
                    <a:pt x="54" y="1290"/>
                  </a:lnTo>
                  <a:lnTo>
                    <a:pt x="40" y="1245"/>
                  </a:lnTo>
                  <a:lnTo>
                    <a:pt x="28" y="1201"/>
                  </a:lnTo>
                  <a:lnTo>
                    <a:pt x="18" y="1154"/>
                  </a:lnTo>
                  <a:lnTo>
                    <a:pt x="10" y="1107"/>
                  </a:lnTo>
                  <a:lnTo>
                    <a:pt x="4" y="1059"/>
                  </a:lnTo>
                  <a:lnTo>
                    <a:pt x="1" y="1010"/>
                  </a:lnTo>
                  <a:lnTo>
                    <a:pt x="0" y="960"/>
                  </a:lnTo>
                  <a:lnTo>
                    <a:pt x="1" y="911"/>
                  </a:lnTo>
                  <a:lnTo>
                    <a:pt x="4" y="862"/>
                  </a:lnTo>
                  <a:lnTo>
                    <a:pt x="10" y="814"/>
                  </a:lnTo>
                  <a:lnTo>
                    <a:pt x="18" y="767"/>
                  </a:lnTo>
                  <a:lnTo>
                    <a:pt x="28" y="720"/>
                  </a:lnTo>
                  <a:lnTo>
                    <a:pt x="40" y="675"/>
                  </a:lnTo>
                  <a:lnTo>
                    <a:pt x="54" y="630"/>
                  </a:lnTo>
                  <a:lnTo>
                    <a:pt x="71" y="586"/>
                  </a:lnTo>
                  <a:lnTo>
                    <a:pt x="89" y="543"/>
                  </a:lnTo>
                  <a:lnTo>
                    <a:pt x="108" y="503"/>
                  </a:lnTo>
                  <a:lnTo>
                    <a:pt x="130" y="463"/>
                  </a:lnTo>
                  <a:lnTo>
                    <a:pt x="154" y="423"/>
                  </a:lnTo>
                  <a:lnTo>
                    <a:pt x="179" y="385"/>
                  </a:lnTo>
                  <a:lnTo>
                    <a:pt x="205" y="350"/>
                  </a:lnTo>
                  <a:lnTo>
                    <a:pt x="234" y="314"/>
                  </a:lnTo>
                  <a:lnTo>
                    <a:pt x="264" y="281"/>
                  </a:lnTo>
                  <a:lnTo>
                    <a:pt x="295" y="250"/>
                  </a:lnTo>
                  <a:lnTo>
                    <a:pt x="327" y="219"/>
                  </a:lnTo>
                  <a:lnTo>
                    <a:pt x="361" y="190"/>
                  </a:lnTo>
                  <a:lnTo>
                    <a:pt x="397" y="164"/>
                  </a:lnTo>
                  <a:lnTo>
                    <a:pt x="433" y="138"/>
                  </a:lnTo>
                  <a:lnTo>
                    <a:pt x="471" y="116"/>
                  </a:lnTo>
                  <a:lnTo>
                    <a:pt x="510" y="95"/>
                  </a:lnTo>
                  <a:lnTo>
                    <a:pt x="550" y="75"/>
                  </a:lnTo>
                  <a:lnTo>
                    <a:pt x="591" y="58"/>
                  </a:lnTo>
                  <a:lnTo>
                    <a:pt x="633" y="43"/>
                  </a:lnTo>
                  <a:lnTo>
                    <a:pt x="675" y="30"/>
                  </a:lnTo>
                  <a:lnTo>
                    <a:pt x="719" y="19"/>
                  </a:lnTo>
                  <a:lnTo>
                    <a:pt x="763" y="11"/>
                  </a:lnTo>
                  <a:lnTo>
                    <a:pt x="809" y="5"/>
                  </a:lnTo>
                  <a:lnTo>
                    <a:pt x="854" y="1"/>
                  </a:lnTo>
                  <a:lnTo>
                    <a:pt x="9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4386" name="Freeform 253"/>
            <p:cNvSpPr>
              <a:spLocks/>
            </p:cNvSpPr>
            <p:nvPr/>
          </p:nvSpPr>
          <p:spPr bwMode="auto">
            <a:xfrm>
              <a:off x="1621" y="1908"/>
              <a:ext cx="43" cy="44"/>
            </a:xfrm>
            <a:custGeom>
              <a:avLst/>
              <a:gdLst>
                <a:gd name="T0" fmla="*/ 0 w 1802"/>
                <a:gd name="T1" fmla="*/ 0 h 1921"/>
                <a:gd name="T2" fmla="*/ 0 w 1802"/>
                <a:gd name="T3" fmla="*/ 0 h 1921"/>
                <a:gd name="T4" fmla="*/ 0 w 1802"/>
                <a:gd name="T5" fmla="*/ 0 h 1921"/>
                <a:gd name="T6" fmla="*/ 0 w 1802"/>
                <a:gd name="T7" fmla="*/ 0 h 1921"/>
                <a:gd name="T8" fmla="*/ 0 w 1802"/>
                <a:gd name="T9" fmla="*/ 0 h 1921"/>
                <a:gd name="T10" fmla="*/ 0 w 1802"/>
                <a:gd name="T11" fmla="*/ 0 h 1921"/>
                <a:gd name="T12" fmla="*/ 0 w 1802"/>
                <a:gd name="T13" fmla="*/ 0 h 1921"/>
                <a:gd name="T14" fmla="*/ 0 w 1802"/>
                <a:gd name="T15" fmla="*/ 0 h 1921"/>
                <a:gd name="T16" fmla="*/ 0 w 1802"/>
                <a:gd name="T17" fmla="*/ 0 h 1921"/>
                <a:gd name="T18" fmla="*/ 0 w 1802"/>
                <a:gd name="T19" fmla="*/ 0 h 1921"/>
                <a:gd name="T20" fmla="*/ 0 w 1802"/>
                <a:gd name="T21" fmla="*/ 0 h 1921"/>
                <a:gd name="T22" fmla="*/ 0 w 1802"/>
                <a:gd name="T23" fmla="*/ 0 h 1921"/>
                <a:gd name="T24" fmla="*/ 0 w 1802"/>
                <a:gd name="T25" fmla="*/ 0 h 1921"/>
                <a:gd name="T26" fmla="*/ 0 w 1802"/>
                <a:gd name="T27" fmla="*/ 0 h 1921"/>
                <a:gd name="T28" fmla="*/ 0 w 1802"/>
                <a:gd name="T29" fmla="*/ 0 h 1921"/>
                <a:gd name="T30" fmla="*/ 0 w 1802"/>
                <a:gd name="T31" fmla="*/ 0 h 1921"/>
                <a:gd name="T32" fmla="*/ 0 w 1802"/>
                <a:gd name="T33" fmla="*/ 0 h 1921"/>
                <a:gd name="T34" fmla="*/ 0 w 1802"/>
                <a:gd name="T35" fmla="*/ 0 h 1921"/>
                <a:gd name="T36" fmla="*/ 0 w 1802"/>
                <a:gd name="T37" fmla="*/ 0 h 1921"/>
                <a:gd name="T38" fmla="*/ 0 w 1802"/>
                <a:gd name="T39" fmla="*/ 0 h 1921"/>
                <a:gd name="T40" fmla="*/ 0 w 1802"/>
                <a:gd name="T41" fmla="*/ 0 h 1921"/>
                <a:gd name="T42" fmla="*/ 0 w 1802"/>
                <a:gd name="T43" fmla="*/ 0 h 1921"/>
                <a:gd name="T44" fmla="*/ 0 w 1802"/>
                <a:gd name="T45" fmla="*/ 0 h 1921"/>
                <a:gd name="T46" fmla="*/ 0 w 1802"/>
                <a:gd name="T47" fmla="*/ 0 h 1921"/>
                <a:gd name="T48" fmla="*/ 0 w 1802"/>
                <a:gd name="T49" fmla="*/ 0 h 1921"/>
                <a:gd name="T50" fmla="*/ 0 w 1802"/>
                <a:gd name="T51" fmla="*/ 0 h 1921"/>
                <a:gd name="T52" fmla="*/ 0 w 1802"/>
                <a:gd name="T53" fmla="*/ 0 h 1921"/>
                <a:gd name="T54" fmla="*/ 0 w 1802"/>
                <a:gd name="T55" fmla="*/ 0 h 1921"/>
                <a:gd name="T56" fmla="*/ 0 w 1802"/>
                <a:gd name="T57" fmla="*/ 0 h 1921"/>
                <a:gd name="T58" fmla="*/ 0 w 1802"/>
                <a:gd name="T59" fmla="*/ 0 h 1921"/>
                <a:gd name="T60" fmla="*/ 0 w 1802"/>
                <a:gd name="T61" fmla="*/ 0 h 1921"/>
                <a:gd name="T62" fmla="*/ 0 w 1802"/>
                <a:gd name="T63" fmla="*/ 0 h 1921"/>
                <a:gd name="T64" fmla="*/ 0 w 1802"/>
                <a:gd name="T65" fmla="*/ 0 h 1921"/>
                <a:gd name="T66" fmla="*/ 0 w 1802"/>
                <a:gd name="T67" fmla="*/ 0 h 1921"/>
                <a:gd name="T68" fmla="*/ 0 w 1802"/>
                <a:gd name="T69" fmla="*/ 0 h 1921"/>
                <a:gd name="T70" fmla="*/ 0 w 1802"/>
                <a:gd name="T71" fmla="*/ 0 h 1921"/>
                <a:gd name="T72" fmla="*/ 0 w 1802"/>
                <a:gd name="T73" fmla="*/ 0 h 1921"/>
                <a:gd name="T74" fmla="*/ 0 w 1802"/>
                <a:gd name="T75" fmla="*/ 0 h 1921"/>
                <a:gd name="T76" fmla="*/ 0 w 1802"/>
                <a:gd name="T77" fmla="*/ 0 h 1921"/>
                <a:gd name="T78" fmla="*/ 0 w 1802"/>
                <a:gd name="T79" fmla="*/ 0 h 1921"/>
                <a:gd name="T80" fmla="*/ 0 w 1802"/>
                <a:gd name="T81" fmla="*/ 0 h 1921"/>
                <a:gd name="T82" fmla="*/ 0 w 1802"/>
                <a:gd name="T83" fmla="*/ 0 h 1921"/>
                <a:gd name="T84" fmla="*/ 0 w 1802"/>
                <a:gd name="T85" fmla="*/ 0 h 192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02"/>
                <a:gd name="T130" fmla="*/ 0 h 1921"/>
                <a:gd name="T131" fmla="*/ 1802 w 1802"/>
                <a:gd name="T132" fmla="*/ 1921 h 192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02" h="1921">
                  <a:moveTo>
                    <a:pt x="901" y="0"/>
                  </a:moveTo>
                  <a:lnTo>
                    <a:pt x="947" y="1"/>
                  </a:lnTo>
                  <a:lnTo>
                    <a:pt x="993" y="5"/>
                  </a:lnTo>
                  <a:lnTo>
                    <a:pt x="1038" y="11"/>
                  </a:lnTo>
                  <a:lnTo>
                    <a:pt x="1082" y="19"/>
                  </a:lnTo>
                  <a:lnTo>
                    <a:pt x="1126" y="30"/>
                  </a:lnTo>
                  <a:lnTo>
                    <a:pt x="1168" y="43"/>
                  </a:lnTo>
                  <a:lnTo>
                    <a:pt x="1210" y="58"/>
                  </a:lnTo>
                  <a:lnTo>
                    <a:pt x="1251" y="75"/>
                  </a:lnTo>
                  <a:lnTo>
                    <a:pt x="1291" y="95"/>
                  </a:lnTo>
                  <a:lnTo>
                    <a:pt x="1330" y="116"/>
                  </a:lnTo>
                  <a:lnTo>
                    <a:pt x="1368" y="138"/>
                  </a:lnTo>
                  <a:lnTo>
                    <a:pt x="1404" y="164"/>
                  </a:lnTo>
                  <a:lnTo>
                    <a:pt x="1439" y="190"/>
                  </a:lnTo>
                  <a:lnTo>
                    <a:pt x="1474" y="219"/>
                  </a:lnTo>
                  <a:lnTo>
                    <a:pt x="1506" y="250"/>
                  </a:lnTo>
                  <a:lnTo>
                    <a:pt x="1538" y="281"/>
                  </a:lnTo>
                  <a:lnTo>
                    <a:pt x="1567" y="314"/>
                  </a:lnTo>
                  <a:lnTo>
                    <a:pt x="1596" y="350"/>
                  </a:lnTo>
                  <a:lnTo>
                    <a:pt x="1622" y="385"/>
                  </a:lnTo>
                  <a:lnTo>
                    <a:pt x="1648" y="423"/>
                  </a:lnTo>
                  <a:lnTo>
                    <a:pt x="1671" y="463"/>
                  </a:lnTo>
                  <a:lnTo>
                    <a:pt x="1693" y="503"/>
                  </a:lnTo>
                  <a:lnTo>
                    <a:pt x="1712" y="543"/>
                  </a:lnTo>
                  <a:lnTo>
                    <a:pt x="1731" y="586"/>
                  </a:lnTo>
                  <a:lnTo>
                    <a:pt x="1747" y="630"/>
                  </a:lnTo>
                  <a:lnTo>
                    <a:pt x="1761" y="675"/>
                  </a:lnTo>
                  <a:lnTo>
                    <a:pt x="1773" y="720"/>
                  </a:lnTo>
                  <a:lnTo>
                    <a:pt x="1783" y="767"/>
                  </a:lnTo>
                  <a:lnTo>
                    <a:pt x="1791" y="814"/>
                  </a:lnTo>
                  <a:lnTo>
                    <a:pt x="1797" y="862"/>
                  </a:lnTo>
                  <a:lnTo>
                    <a:pt x="1800" y="911"/>
                  </a:lnTo>
                  <a:lnTo>
                    <a:pt x="1802" y="960"/>
                  </a:lnTo>
                  <a:lnTo>
                    <a:pt x="1800" y="1010"/>
                  </a:lnTo>
                  <a:lnTo>
                    <a:pt x="1797" y="1059"/>
                  </a:lnTo>
                  <a:lnTo>
                    <a:pt x="1791" y="1107"/>
                  </a:lnTo>
                  <a:lnTo>
                    <a:pt x="1783" y="1154"/>
                  </a:lnTo>
                  <a:lnTo>
                    <a:pt x="1773" y="1201"/>
                  </a:lnTo>
                  <a:lnTo>
                    <a:pt x="1761" y="1245"/>
                  </a:lnTo>
                  <a:lnTo>
                    <a:pt x="1747" y="1290"/>
                  </a:lnTo>
                  <a:lnTo>
                    <a:pt x="1731" y="1334"/>
                  </a:lnTo>
                  <a:lnTo>
                    <a:pt x="1712" y="1377"/>
                  </a:lnTo>
                  <a:lnTo>
                    <a:pt x="1693" y="1418"/>
                  </a:lnTo>
                  <a:lnTo>
                    <a:pt x="1671" y="1459"/>
                  </a:lnTo>
                  <a:lnTo>
                    <a:pt x="1648" y="1497"/>
                  </a:lnTo>
                  <a:lnTo>
                    <a:pt x="1622" y="1535"/>
                  </a:lnTo>
                  <a:lnTo>
                    <a:pt x="1596" y="1571"/>
                  </a:lnTo>
                  <a:lnTo>
                    <a:pt x="1567" y="1606"/>
                  </a:lnTo>
                  <a:lnTo>
                    <a:pt x="1538" y="1639"/>
                  </a:lnTo>
                  <a:lnTo>
                    <a:pt x="1506" y="1671"/>
                  </a:lnTo>
                  <a:lnTo>
                    <a:pt x="1474" y="1701"/>
                  </a:lnTo>
                  <a:lnTo>
                    <a:pt x="1439" y="1730"/>
                  </a:lnTo>
                  <a:lnTo>
                    <a:pt x="1404" y="1757"/>
                  </a:lnTo>
                  <a:lnTo>
                    <a:pt x="1368" y="1782"/>
                  </a:lnTo>
                  <a:lnTo>
                    <a:pt x="1330" y="1805"/>
                  </a:lnTo>
                  <a:lnTo>
                    <a:pt x="1291" y="1826"/>
                  </a:lnTo>
                  <a:lnTo>
                    <a:pt x="1251" y="1845"/>
                  </a:lnTo>
                  <a:lnTo>
                    <a:pt x="1210" y="1863"/>
                  </a:lnTo>
                  <a:lnTo>
                    <a:pt x="1168" y="1878"/>
                  </a:lnTo>
                  <a:lnTo>
                    <a:pt x="1126" y="1890"/>
                  </a:lnTo>
                  <a:lnTo>
                    <a:pt x="1082" y="1901"/>
                  </a:lnTo>
                  <a:lnTo>
                    <a:pt x="1038" y="1910"/>
                  </a:lnTo>
                  <a:lnTo>
                    <a:pt x="993" y="1916"/>
                  </a:lnTo>
                  <a:lnTo>
                    <a:pt x="947" y="1920"/>
                  </a:lnTo>
                  <a:lnTo>
                    <a:pt x="901" y="1921"/>
                  </a:lnTo>
                  <a:lnTo>
                    <a:pt x="854" y="1920"/>
                  </a:lnTo>
                  <a:lnTo>
                    <a:pt x="809" y="1916"/>
                  </a:lnTo>
                  <a:lnTo>
                    <a:pt x="763" y="1910"/>
                  </a:lnTo>
                  <a:lnTo>
                    <a:pt x="719" y="1901"/>
                  </a:lnTo>
                  <a:lnTo>
                    <a:pt x="675" y="1890"/>
                  </a:lnTo>
                  <a:lnTo>
                    <a:pt x="633" y="1878"/>
                  </a:lnTo>
                  <a:lnTo>
                    <a:pt x="591" y="1863"/>
                  </a:lnTo>
                  <a:lnTo>
                    <a:pt x="550" y="1845"/>
                  </a:lnTo>
                  <a:lnTo>
                    <a:pt x="510" y="1826"/>
                  </a:lnTo>
                  <a:lnTo>
                    <a:pt x="471" y="1805"/>
                  </a:lnTo>
                  <a:lnTo>
                    <a:pt x="433" y="1782"/>
                  </a:lnTo>
                  <a:lnTo>
                    <a:pt x="397" y="1757"/>
                  </a:lnTo>
                  <a:lnTo>
                    <a:pt x="361" y="1730"/>
                  </a:lnTo>
                  <a:lnTo>
                    <a:pt x="327" y="1701"/>
                  </a:lnTo>
                  <a:lnTo>
                    <a:pt x="295" y="1671"/>
                  </a:lnTo>
                  <a:lnTo>
                    <a:pt x="264" y="1639"/>
                  </a:lnTo>
                  <a:lnTo>
                    <a:pt x="234" y="1606"/>
                  </a:lnTo>
                  <a:lnTo>
                    <a:pt x="205" y="1571"/>
                  </a:lnTo>
                  <a:lnTo>
                    <a:pt x="179" y="1535"/>
                  </a:lnTo>
                  <a:lnTo>
                    <a:pt x="154" y="1497"/>
                  </a:lnTo>
                  <a:lnTo>
                    <a:pt x="130" y="1459"/>
                  </a:lnTo>
                  <a:lnTo>
                    <a:pt x="108" y="1418"/>
                  </a:lnTo>
                  <a:lnTo>
                    <a:pt x="89" y="1377"/>
                  </a:lnTo>
                  <a:lnTo>
                    <a:pt x="71" y="1334"/>
                  </a:lnTo>
                  <a:lnTo>
                    <a:pt x="54" y="1290"/>
                  </a:lnTo>
                  <a:lnTo>
                    <a:pt x="40" y="1245"/>
                  </a:lnTo>
                  <a:lnTo>
                    <a:pt x="28" y="1201"/>
                  </a:lnTo>
                  <a:lnTo>
                    <a:pt x="18" y="1154"/>
                  </a:lnTo>
                  <a:lnTo>
                    <a:pt x="10" y="1107"/>
                  </a:lnTo>
                  <a:lnTo>
                    <a:pt x="4" y="1059"/>
                  </a:lnTo>
                  <a:lnTo>
                    <a:pt x="1" y="1010"/>
                  </a:lnTo>
                  <a:lnTo>
                    <a:pt x="0" y="960"/>
                  </a:lnTo>
                  <a:lnTo>
                    <a:pt x="1" y="911"/>
                  </a:lnTo>
                  <a:lnTo>
                    <a:pt x="4" y="862"/>
                  </a:lnTo>
                  <a:lnTo>
                    <a:pt x="10" y="814"/>
                  </a:lnTo>
                  <a:lnTo>
                    <a:pt x="18" y="767"/>
                  </a:lnTo>
                  <a:lnTo>
                    <a:pt x="28" y="720"/>
                  </a:lnTo>
                  <a:lnTo>
                    <a:pt x="40" y="675"/>
                  </a:lnTo>
                  <a:lnTo>
                    <a:pt x="54" y="630"/>
                  </a:lnTo>
                  <a:lnTo>
                    <a:pt x="71" y="586"/>
                  </a:lnTo>
                  <a:lnTo>
                    <a:pt x="89" y="543"/>
                  </a:lnTo>
                  <a:lnTo>
                    <a:pt x="108" y="503"/>
                  </a:lnTo>
                  <a:lnTo>
                    <a:pt x="130" y="463"/>
                  </a:lnTo>
                  <a:lnTo>
                    <a:pt x="154" y="423"/>
                  </a:lnTo>
                  <a:lnTo>
                    <a:pt x="179" y="385"/>
                  </a:lnTo>
                  <a:lnTo>
                    <a:pt x="205" y="350"/>
                  </a:lnTo>
                  <a:lnTo>
                    <a:pt x="234" y="314"/>
                  </a:lnTo>
                  <a:lnTo>
                    <a:pt x="264" y="281"/>
                  </a:lnTo>
                  <a:lnTo>
                    <a:pt x="295" y="250"/>
                  </a:lnTo>
                  <a:lnTo>
                    <a:pt x="327" y="219"/>
                  </a:lnTo>
                  <a:lnTo>
                    <a:pt x="361" y="190"/>
                  </a:lnTo>
                  <a:lnTo>
                    <a:pt x="397" y="164"/>
                  </a:lnTo>
                  <a:lnTo>
                    <a:pt x="433" y="138"/>
                  </a:lnTo>
                  <a:lnTo>
                    <a:pt x="471" y="116"/>
                  </a:lnTo>
                  <a:lnTo>
                    <a:pt x="510" y="95"/>
                  </a:lnTo>
                  <a:lnTo>
                    <a:pt x="550" y="75"/>
                  </a:lnTo>
                  <a:lnTo>
                    <a:pt x="591" y="58"/>
                  </a:lnTo>
                  <a:lnTo>
                    <a:pt x="633" y="43"/>
                  </a:lnTo>
                  <a:lnTo>
                    <a:pt x="675" y="30"/>
                  </a:lnTo>
                  <a:lnTo>
                    <a:pt x="719" y="19"/>
                  </a:lnTo>
                  <a:lnTo>
                    <a:pt x="763" y="11"/>
                  </a:lnTo>
                  <a:lnTo>
                    <a:pt x="809" y="5"/>
                  </a:lnTo>
                  <a:lnTo>
                    <a:pt x="854" y="1"/>
                  </a:lnTo>
                  <a:lnTo>
                    <a:pt x="901" y="0"/>
                  </a:lnTo>
                  <a:close/>
                </a:path>
              </a:pathLst>
            </a:custGeom>
            <a:noFill/>
            <a:ln w="6350">
              <a:solidFill>
                <a:srgbClr val="1F1A1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4320" name="Rectangle 39"/>
          <p:cNvSpPr>
            <a:spLocks noChangeArrowheads="1"/>
          </p:cNvSpPr>
          <p:nvPr/>
        </p:nvSpPr>
        <p:spPr bwMode="auto">
          <a:xfrm>
            <a:off x="0" y="1916113"/>
            <a:ext cx="2411413" cy="4318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Без ДЦ</a:t>
            </a:r>
          </a:p>
        </p:txBody>
      </p:sp>
      <p:sp>
        <p:nvSpPr>
          <p:cNvPr id="54321" name="Text Box 255"/>
          <p:cNvSpPr txBox="1">
            <a:spLocks noChangeArrowheads="1"/>
          </p:cNvSpPr>
          <p:nvPr/>
        </p:nvSpPr>
        <p:spPr bwMode="auto">
          <a:xfrm>
            <a:off x="395288" y="6092825"/>
            <a:ext cx="83534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sz="1800"/>
          </a:p>
        </p:txBody>
      </p:sp>
      <p:sp>
        <p:nvSpPr>
          <p:cNvPr id="54322" name="Rectangle 258"/>
          <p:cNvSpPr>
            <a:spLocks noChangeArrowheads="1"/>
          </p:cNvSpPr>
          <p:nvPr/>
        </p:nvSpPr>
        <p:spPr bwMode="auto">
          <a:xfrm>
            <a:off x="0" y="0"/>
            <a:ext cx="9144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 sz="1800">
              <a:latin typeface="Tahoma" pitchFamily="34" charset="0"/>
            </a:endParaRPr>
          </a:p>
        </p:txBody>
      </p:sp>
      <p:sp>
        <p:nvSpPr>
          <p:cNvPr id="54323" name="Text Box 259"/>
          <p:cNvSpPr txBox="1">
            <a:spLocks noChangeArrowheads="1"/>
          </p:cNvSpPr>
          <p:nvPr/>
        </p:nvSpPr>
        <p:spPr bwMode="auto">
          <a:xfrm>
            <a:off x="0" y="47667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Candara" pitchFamily="34" charset="0"/>
              </a:rPr>
              <a:t>  </a:t>
            </a:r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ndara" pitchFamily="34" charset="0"/>
              </a:rPr>
              <a:t>  </a:t>
            </a:r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ЕСПЕЧЕНИЕ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ПРАВЛЯЕМОСТИ И ДОСТУПНОСТИ ВМП С ИСПОЛЬЗОВАНИЕМ ИТ</a:t>
            </a:r>
          </a:p>
        </p:txBody>
      </p:sp>
      <p:sp>
        <p:nvSpPr>
          <p:cNvPr id="54328" name="Text Box 264"/>
          <p:cNvSpPr txBox="1">
            <a:spLocks noChangeArrowheads="1"/>
          </p:cNvSpPr>
          <p:nvPr/>
        </p:nvSpPr>
        <p:spPr bwMode="auto">
          <a:xfrm>
            <a:off x="719137" y="1052736"/>
            <a:ext cx="68771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dirty="0">
                <a:latin typeface="Tahoma" pitchFamily="34" charset="0"/>
              </a:rPr>
              <a:t>              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Диспетчерский центр МЗ РТ – принцип одного окна.</a:t>
            </a:r>
          </a:p>
        </p:txBody>
      </p:sp>
      <p:sp>
        <p:nvSpPr>
          <p:cNvPr id="265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40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1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4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5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5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6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6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0" y="44450"/>
            <a:ext cx="8702675" cy="79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normAutofit fontScale="90000"/>
          </a:bodyPr>
          <a:lstStyle/>
          <a:p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Центральный архив медицинских изображений «ЦАМИ</a:t>
            </a: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»</a:t>
            </a:r>
            <a:b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</a:br>
            <a:r>
              <a:rPr lang="ru-RU" sz="2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пыт промышленной эксплуатации более 5 лет</a:t>
            </a:r>
            <a:endParaRPr lang="ru-RU" sz="2200" noProof="1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4" name="Picture 4" descr="Карттат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613" y="1530350"/>
            <a:ext cx="6888162" cy="454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Блок-схема: магнитный диск 7"/>
          <p:cNvSpPr>
            <a:spLocks noChangeAspect="1"/>
          </p:cNvSpPr>
          <p:nvPr/>
        </p:nvSpPr>
        <p:spPr>
          <a:xfrm>
            <a:off x="2357438" y="1968500"/>
            <a:ext cx="690562" cy="1081088"/>
          </a:xfrm>
          <a:prstGeom prst="flowChartMagneticDisk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ЦАМИ</a:t>
            </a:r>
          </a:p>
        </p:txBody>
      </p:sp>
      <p:sp>
        <p:nvSpPr>
          <p:cNvPr id="9" name="Скругленный прямоугольник 8"/>
          <p:cNvSpPr>
            <a:spLocks/>
          </p:cNvSpPr>
          <p:nvPr/>
        </p:nvSpPr>
        <p:spPr>
          <a:xfrm>
            <a:off x="1214438" y="4611688"/>
            <a:ext cx="1182687" cy="534987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8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ЛПУ №1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138" y="4010025"/>
            <a:ext cx="706437" cy="661988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sp>
        <p:nvSpPr>
          <p:cNvPr id="17" name="Загнутый угол 16"/>
          <p:cNvSpPr/>
          <p:nvPr/>
        </p:nvSpPr>
        <p:spPr>
          <a:xfrm>
            <a:off x="2462213" y="2303463"/>
            <a:ext cx="536575" cy="498475"/>
          </a:xfrm>
          <a:prstGeom prst="foldedCorner">
            <a:avLst>
              <a:gd name="adj" fmla="val 2721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sp>
        <p:nvSpPr>
          <p:cNvPr id="18" name="Скругленный прямоугольник 17"/>
          <p:cNvSpPr>
            <a:spLocks/>
          </p:cNvSpPr>
          <p:nvPr/>
        </p:nvSpPr>
        <p:spPr>
          <a:xfrm>
            <a:off x="4757738" y="3125788"/>
            <a:ext cx="1182687" cy="534987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8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ЛПУ №2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6438" y="2524125"/>
            <a:ext cx="706437" cy="661988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sp>
        <p:nvSpPr>
          <p:cNvPr id="20" name="Загнутый угол 19"/>
          <p:cNvSpPr/>
          <p:nvPr/>
        </p:nvSpPr>
        <p:spPr>
          <a:xfrm>
            <a:off x="2457450" y="2305050"/>
            <a:ext cx="536575" cy="498475"/>
          </a:xfrm>
          <a:prstGeom prst="foldedCorner">
            <a:avLst>
              <a:gd name="adj" fmla="val 2721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 dirty="0"/>
          </a:p>
        </p:txBody>
      </p:sp>
      <p:sp>
        <p:nvSpPr>
          <p:cNvPr id="21" name="Скругленный прямоугольник 20"/>
          <p:cNvSpPr>
            <a:spLocks/>
          </p:cNvSpPr>
          <p:nvPr/>
        </p:nvSpPr>
        <p:spPr>
          <a:xfrm>
            <a:off x="6405563" y="3535363"/>
            <a:ext cx="1182687" cy="534987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8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ЛПУ №3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4263" y="2933700"/>
            <a:ext cx="706437" cy="661988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sp>
        <p:nvSpPr>
          <p:cNvPr id="23" name="Загнутый угол 22"/>
          <p:cNvSpPr/>
          <p:nvPr/>
        </p:nvSpPr>
        <p:spPr>
          <a:xfrm>
            <a:off x="2462213" y="2293938"/>
            <a:ext cx="536575" cy="498475"/>
          </a:xfrm>
          <a:prstGeom prst="foldedCorner">
            <a:avLst>
              <a:gd name="adj" fmla="val 2721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sp>
        <p:nvSpPr>
          <p:cNvPr id="24" name="Скругленный прямоугольник 23"/>
          <p:cNvSpPr>
            <a:spLocks/>
          </p:cNvSpPr>
          <p:nvPr/>
        </p:nvSpPr>
        <p:spPr>
          <a:xfrm>
            <a:off x="5757863" y="4745038"/>
            <a:ext cx="1182687" cy="534987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8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ЛПУ №4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endParaRPr lang="ru-RU" sz="1200" b="1" dirty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104" y="4149080"/>
            <a:ext cx="706437" cy="661988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sp>
        <p:nvSpPr>
          <p:cNvPr id="26" name="Загнутый угол 25"/>
          <p:cNvSpPr/>
          <p:nvPr/>
        </p:nvSpPr>
        <p:spPr>
          <a:xfrm>
            <a:off x="2462213" y="2303463"/>
            <a:ext cx="536575" cy="498475"/>
          </a:xfrm>
          <a:prstGeom prst="foldedCorner">
            <a:avLst>
              <a:gd name="adj" fmla="val 27210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sp>
        <p:nvSpPr>
          <p:cNvPr id="16402" name="Text Box 17"/>
          <p:cNvSpPr txBox="1">
            <a:spLocks noChangeArrowheads="1"/>
          </p:cNvSpPr>
          <p:nvPr/>
        </p:nvSpPr>
        <p:spPr bwMode="auto">
          <a:xfrm>
            <a:off x="142875" y="1079500"/>
            <a:ext cx="889317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1400" i="1" dirty="0">
                <a:solidFill>
                  <a:srgbClr val="002060"/>
                </a:solidFill>
                <a:latin typeface="Arial Narrow" pitchFamily="34" charset="0"/>
              </a:rPr>
              <a:t>Архивирование медицинских изображений в одном месте, круглосуточный доступ к ним, проведение виртуальных консультаций с участием ведущих специалистов в режиме реального времени</a:t>
            </a:r>
            <a:r>
              <a:rPr lang="ru-RU" sz="1600" i="1" dirty="0">
                <a:solidFill>
                  <a:srgbClr val="002060"/>
                </a:solidFill>
                <a:latin typeface="Arial Narrow" pitchFamily="34" charset="0"/>
              </a:rPr>
              <a:t>.</a:t>
            </a:r>
          </a:p>
        </p:txBody>
      </p:sp>
      <p:sp>
        <p:nvSpPr>
          <p:cNvPr id="28" name="Номер слайда 14"/>
          <p:cNvSpPr txBox="1">
            <a:spLocks noGrp="1"/>
          </p:cNvSpPr>
          <p:nvPr/>
        </p:nvSpPr>
        <p:spPr>
          <a:xfrm>
            <a:off x="8482013" y="6402388"/>
            <a:ext cx="5715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23673A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7544" y="5517232"/>
            <a:ext cx="8280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C00000"/>
                </a:solidFill>
                <a:latin typeface="Arial Narrow" pitchFamily="34" charset="0"/>
              </a:rPr>
              <a:t>ПОДКЛЮЧЕНО - 121 аппарат</a:t>
            </a:r>
          </a:p>
          <a:p>
            <a:r>
              <a:rPr lang="ru-RU" dirty="0" smtClean="0">
                <a:solidFill>
                  <a:srgbClr val="C00000"/>
                </a:solidFill>
                <a:latin typeface="Arial Narrow" pitchFamily="34" charset="0"/>
              </a:rPr>
              <a:t>Архивировано – 452 000 исследований и более 60 млн. изображений </a:t>
            </a:r>
          </a:p>
          <a:p>
            <a:endParaRPr lang="ru-RU" dirty="0">
              <a:solidFill>
                <a:srgbClr val="C0000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20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643 0.00972 C -0.01736 -0.02616 -0.06753 -0.18519 -0.13663 -0.2051 C -0.20573 -0.225 -0.35191 -0.12917 -0.4085 -0.10926 C -0.4085 -0.10926 0.00643 0.00972 0.00643 0.00972 Z " pathEditMode="relative" rAng="0" ptsTypes="aaaa">
                                      <p:cBhvr>
                                        <p:cTn id="5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747" y="-1173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4"/>
                                            </p:cond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5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6 -0.00625 C -0.02795 0.00857 0.02517 0.11945 0.00556 0.16482 C -0.01493 0.22176 -0.09896 0.31412 -0.125 0.33519 " pathEditMode="relative" rAng="0" ptsTypes="faf">
                                      <p:cBhvr>
                                        <p:cTn id="7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844" y="1706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77"/>
                                            </p:cond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6 -0.00625 C 0.04861 0.01458 0.24966 0.09768 0.3 0.11851 " pathEditMode="relative" rAng="0" ptsTypes="ff">
                                      <p:cBhvr>
                                        <p:cTn id="8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69" y="622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79"/>
                                            </p:cond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35 -0.00139 C 0.05938 0.02361 0.10677 0.12848 0.18577 0.15973 C 0.26476 0.19098 0.41424 0.18056 0.47431 0.18611 " pathEditMode="relative" rAng="0" ptsTypes="faf">
                                      <p:cBhvr>
                                        <p:cTn id="82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98" y="960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81"/>
                                            </p:cond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6 -0.00625 C 0.03403 0.02847 0.1033 0.18009 0.16806 0.24306 C 0.23281 0.30602 0.34132 0.34537 0.38681 0.37222 " pathEditMode="relative" rAng="0" ptsTypes="faf">
                                      <p:cBhvr>
                                        <p:cTn id="8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410" y="1891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83"/>
                                            </p:cond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7" grpId="0" animBg="1"/>
      <p:bldP spid="18" grpId="0" animBg="1"/>
      <p:bldP spid="20" grpId="0" animBg="1"/>
      <p:bldP spid="21" grpId="0" animBg="1"/>
      <p:bldP spid="23" grpId="0" animBg="1"/>
      <p:bldP spid="24" grpId="0" animBg="1"/>
      <p:bldP spid="2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19672" y="332656"/>
            <a:ext cx="6696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Ситуационный центр  МЗ РТ при РКБ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136195" name="Picture 3" descr="C:\Users\Пользователь\Desktop\ФОТО\ЛПУ\IMG_1047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30" y="889428"/>
            <a:ext cx="9132370" cy="5968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23528" y="18864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80690" y="18864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7478" y="16939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04640" y="16939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81052" y="150139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38214" y="150139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43608" y="5733256"/>
            <a:ext cx="76328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bg1"/>
                </a:solidFill>
                <a:latin typeface="Arial Narrow" pitchFamily="34" charset="0"/>
              </a:rPr>
              <a:t>570 консультаций в 2013 году</a:t>
            </a:r>
            <a:endParaRPr lang="ru-RU" sz="4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23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323528" y="260648"/>
            <a:ext cx="669674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6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ЦЕЛЬ</a:t>
            </a:r>
            <a:endParaRPr lang="ru-RU" sz="166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gray">
          <a:xfrm flipH="1" flipV="1">
            <a:off x="873125" y="2282825"/>
            <a:ext cx="5033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3" name="Line 4"/>
          <p:cNvSpPr>
            <a:spLocks noChangeShapeType="1"/>
          </p:cNvSpPr>
          <p:nvPr/>
        </p:nvSpPr>
        <p:spPr bwMode="gray">
          <a:xfrm flipH="1" flipV="1">
            <a:off x="827088" y="5589588"/>
            <a:ext cx="1703387" cy="317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" name="Line 5"/>
          <p:cNvSpPr>
            <a:spLocks noChangeShapeType="1"/>
          </p:cNvSpPr>
          <p:nvPr/>
        </p:nvSpPr>
        <p:spPr bwMode="gray">
          <a:xfrm flipH="1">
            <a:off x="873125" y="4783138"/>
            <a:ext cx="2438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5" name="Line 6"/>
          <p:cNvSpPr>
            <a:spLocks noChangeShapeType="1"/>
          </p:cNvSpPr>
          <p:nvPr/>
        </p:nvSpPr>
        <p:spPr bwMode="gray">
          <a:xfrm flipH="1">
            <a:off x="873125" y="3952875"/>
            <a:ext cx="335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gray">
          <a:xfrm flipH="1">
            <a:off x="873125" y="3124200"/>
            <a:ext cx="4165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gray">
          <a:xfrm flipH="1" flipV="1">
            <a:off x="873125" y="2282825"/>
            <a:ext cx="5033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gray">
          <a:xfrm>
            <a:off x="1025525" y="2276475"/>
            <a:ext cx="0" cy="8715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9" name="Line 10"/>
          <p:cNvSpPr>
            <a:spLocks noChangeShapeType="1"/>
          </p:cNvSpPr>
          <p:nvPr/>
        </p:nvSpPr>
        <p:spPr bwMode="gray">
          <a:xfrm>
            <a:off x="1025525" y="3148013"/>
            <a:ext cx="0" cy="8175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0" name="Line 11"/>
          <p:cNvSpPr>
            <a:spLocks noChangeShapeType="1"/>
          </p:cNvSpPr>
          <p:nvPr/>
        </p:nvSpPr>
        <p:spPr bwMode="gray">
          <a:xfrm>
            <a:off x="1025525" y="3965575"/>
            <a:ext cx="0" cy="815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1" name="Line 12"/>
          <p:cNvSpPr>
            <a:spLocks noChangeShapeType="1"/>
          </p:cNvSpPr>
          <p:nvPr/>
        </p:nvSpPr>
        <p:spPr bwMode="gray">
          <a:xfrm>
            <a:off x="1025525" y="4783138"/>
            <a:ext cx="0" cy="815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grpSp>
        <p:nvGrpSpPr>
          <p:cNvPr id="12" name="Group 13"/>
          <p:cNvGrpSpPr>
            <a:grpSpLocks/>
          </p:cNvGrpSpPr>
          <p:nvPr/>
        </p:nvGrpSpPr>
        <p:grpSpPr bwMode="auto">
          <a:xfrm>
            <a:off x="2555875" y="2133315"/>
            <a:ext cx="5832549" cy="3486437"/>
            <a:chOff x="1514" y="1356"/>
            <a:chExt cx="3670" cy="2196"/>
          </a:xfrm>
        </p:grpSpPr>
        <p:sp>
          <p:nvSpPr>
            <p:cNvPr id="13" name="Freeform 14"/>
            <p:cNvSpPr>
              <a:spLocks/>
            </p:cNvSpPr>
            <p:nvPr/>
          </p:nvSpPr>
          <p:spPr bwMode="gray">
            <a:xfrm>
              <a:off x="4817" y="1446"/>
              <a:ext cx="363" cy="533"/>
            </a:xfrm>
            <a:custGeom>
              <a:avLst/>
              <a:gdLst>
                <a:gd name="T0" fmla="*/ 308 w 308"/>
                <a:gd name="T1" fmla="*/ 120 h 444"/>
                <a:gd name="T2" fmla="*/ 0 w 308"/>
                <a:gd name="T3" fmla="*/ 444 h 444"/>
                <a:gd name="T4" fmla="*/ 0 w 308"/>
                <a:gd name="T5" fmla="*/ 286 h 444"/>
                <a:gd name="T6" fmla="*/ 308 w 308"/>
                <a:gd name="T7" fmla="*/ 0 h 444"/>
                <a:gd name="T8" fmla="*/ 308 w 308"/>
                <a:gd name="T9" fmla="*/ 12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444">
                  <a:moveTo>
                    <a:pt x="308" y="120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>
                    <a:gamma/>
                    <a:shade val="46275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D1D1D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gray">
            <a:xfrm>
              <a:off x="3078" y="1446"/>
              <a:ext cx="2106" cy="341"/>
            </a:xfrm>
            <a:custGeom>
              <a:avLst/>
              <a:gdLst>
                <a:gd name="T0" fmla="*/ 1478 w 1786"/>
                <a:gd name="T1" fmla="*/ 284 h 284"/>
                <a:gd name="T2" fmla="*/ 0 w 1786"/>
                <a:gd name="T3" fmla="*/ 284 h 284"/>
                <a:gd name="T4" fmla="*/ 446 w 1786"/>
                <a:gd name="T5" fmla="*/ 0 h 284"/>
                <a:gd name="T6" fmla="*/ 1786 w 1786"/>
                <a:gd name="T7" fmla="*/ 0 h 284"/>
                <a:gd name="T8" fmla="*/ 1478 w 1786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6" h="284">
                  <a:moveTo>
                    <a:pt x="1478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1786" y="0"/>
                  </a:lnTo>
                  <a:lnTo>
                    <a:pt x="1478" y="28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80808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gray">
            <a:xfrm>
              <a:off x="4452" y="1970"/>
              <a:ext cx="363" cy="530"/>
            </a:xfrm>
            <a:custGeom>
              <a:avLst/>
              <a:gdLst>
                <a:gd name="T0" fmla="*/ 308 w 308"/>
                <a:gd name="T1" fmla="*/ 120 h 442"/>
                <a:gd name="T2" fmla="*/ 0 w 308"/>
                <a:gd name="T3" fmla="*/ 442 h 442"/>
                <a:gd name="T4" fmla="*/ 0 w 308"/>
                <a:gd name="T5" fmla="*/ 286 h 442"/>
                <a:gd name="T6" fmla="*/ 308 w 308"/>
                <a:gd name="T7" fmla="*/ 0 h 442"/>
                <a:gd name="T8" fmla="*/ 308 w 308"/>
                <a:gd name="T9" fmla="*/ 12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442">
                  <a:moveTo>
                    <a:pt x="308" y="120"/>
                  </a:moveTo>
                  <a:lnTo>
                    <a:pt x="0" y="442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0"/>
                  </a:lnTo>
                  <a:close/>
                </a:path>
              </a:pathLst>
            </a:custGeom>
            <a:gradFill rotWithShape="1">
              <a:gsLst>
                <a:gs pos="0">
                  <a:schemeClr val="hlink">
                    <a:gamma/>
                    <a:shade val="46275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D1D1D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gray">
            <a:xfrm>
              <a:off x="2555" y="1970"/>
              <a:ext cx="2264" cy="340"/>
            </a:xfrm>
            <a:custGeom>
              <a:avLst/>
              <a:gdLst>
                <a:gd name="T0" fmla="*/ 1612 w 1920"/>
                <a:gd name="T1" fmla="*/ 284 h 284"/>
                <a:gd name="T2" fmla="*/ 0 w 1920"/>
                <a:gd name="T3" fmla="*/ 284 h 284"/>
                <a:gd name="T4" fmla="*/ 446 w 1920"/>
                <a:gd name="T5" fmla="*/ 0 h 284"/>
                <a:gd name="T6" fmla="*/ 1920 w 1920"/>
                <a:gd name="T7" fmla="*/ 0 h 284"/>
                <a:gd name="T8" fmla="*/ 1612 w 1920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0" h="284">
                  <a:moveTo>
                    <a:pt x="1612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1920" y="0"/>
                  </a:lnTo>
                  <a:lnTo>
                    <a:pt x="1612" y="284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80808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gray">
            <a:xfrm>
              <a:off x="4086" y="2494"/>
              <a:ext cx="361" cy="532"/>
            </a:xfrm>
            <a:custGeom>
              <a:avLst/>
              <a:gdLst>
                <a:gd name="T0" fmla="*/ 306 w 306"/>
                <a:gd name="T1" fmla="*/ 122 h 444"/>
                <a:gd name="T2" fmla="*/ 0 w 306"/>
                <a:gd name="T3" fmla="*/ 444 h 444"/>
                <a:gd name="T4" fmla="*/ 0 w 306"/>
                <a:gd name="T5" fmla="*/ 286 h 444"/>
                <a:gd name="T6" fmla="*/ 306 w 306"/>
                <a:gd name="T7" fmla="*/ 0 h 444"/>
                <a:gd name="T8" fmla="*/ 306 w 306"/>
                <a:gd name="T9" fmla="*/ 12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" h="444">
                  <a:moveTo>
                    <a:pt x="306" y="122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6" y="0"/>
                  </a:lnTo>
                  <a:lnTo>
                    <a:pt x="306" y="122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D1D1D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gray">
            <a:xfrm>
              <a:off x="3722" y="3019"/>
              <a:ext cx="364" cy="533"/>
            </a:xfrm>
            <a:custGeom>
              <a:avLst/>
              <a:gdLst>
                <a:gd name="T0" fmla="*/ 308 w 308"/>
                <a:gd name="T1" fmla="*/ 122 h 444"/>
                <a:gd name="T2" fmla="*/ 0 w 308"/>
                <a:gd name="T3" fmla="*/ 444 h 444"/>
                <a:gd name="T4" fmla="*/ 0 w 308"/>
                <a:gd name="T5" fmla="*/ 286 h 444"/>
                <a:gd name="T6" fmla="*/ 308 w 308"/>
                <a:gd name="T7" fmla="*/ 0 h 444"/>
                <a:gd name="T8" fmla="*/ 308 w 308"/>
                <a:gd name="T9" fmla="*/ 12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444">
                  <a:moveTo>
                    <a:pt x="308" y="122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D1D1D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gray">
            <a:xfrm>
              <a:off x="1515" y="3022"/>
              <a:ext cx="2571" cy="340"/>
            </a:xfrm>
            <a:custGeom>
              <a:avLst/>
              <a:gdLst>
                <a:gd name="T0" fmla="*/ 1872 w 2180"/>
                <a:gd name="T1" fmla="*/ 284 h 284"/>
                <a:gd name="T2" fmla="*/ 0 w 2180"/>
                <a:gd name="T3" fmla="*/ 284 h 284"/>
                <a:gd name="T4" fmla="*/ 446 w 2180"/>
                <a:gd name="T5" fmla="*/ 0 h 284"/>
                <a:gd name="T6" fmla="*/ 2180 w 2180"/>
                <a:gd name="T7" fmla="*/ 0 h 284"/>
                <a:gd name="T8" fmla="*/ 1872 w 2180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0" h="284">
                  <a:moveTo>
                    <a:pt x="1872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2180" y="0"/>
                  </a:lnTo>
                  <a:lnTo>
                    <a:pt x="1872" y="284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80808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" name="Freeform 21"/>
            <p:cNvSpPr>
              <a:spLocks/>
            </p:cNvSpPr>
            <p:nvPr/>
          </p:nvSpPr>
          <p:spPr bwMode="gray">
            <a:xfrm>
              <a:off x="1786" y="1356"/>
              <a:ext cx="1304" cy="1993"/>
            </a:xfrm>
            <a:custGeom>
              <a:avLst/>
              <a:gdLst>
                <a:gd name="T0" fmla="*/ 12 w 1824"/>
                <a:gd name="T1" fmla="*/ 2464 h 2648"/>
                <a:gd name="T2" fmla="*/ 56 w 1824"/>
                <a:gd name="T3" fmla="*/ 2120 h 2648"/>
                <a:gd name="T4" fmla="*/ 124 w 1824"/>
                <a:gd name="T5" fmla="*/ 1808 h 2648"/>
                <a:gd name="T6" fmla="*/ 212 w 1824"/>
                <a:gd name="T7" fmla="*/ 1524 h 2648"/>
                <a:gd name="T8" fmla="*/ 316 w 1824"/>
                <a:gd name="T9" fmla="*/ 1270 h 2648"/>
                <a:gd name="T10" fmla="*/ 430 w 1824"/>
                <a:gd name="T11" fmla="*/ 1044 h 2648"/>
                <a:gd name="T12" fmla="*/ 550 w 1824"/>
                <a:gd name="T13" fmla="*/ 846 h 2648"/>
                <a:gd name="T14" fmla="*/ 672 w 1824"/>
                <a:gd name="T15" fmla="*/ 674 h 2648"/>
                <a:gd name="T16" fmla="*/ 792 w 1824"/>
                <a:gd name="T17" fmla="*/ 528 h 2648"/>
                <a:gd name="T18" fmla="*/ 906 w 1824"/>
                <a:gd name="T19" fmla="*/ 408 h 2648"/>
                <a:gd name="T20" fmla="*/ 1010 w 1824"/>
                <a:gd name="T21" fmla="*/ 310 h 2648"/>
                <a:gd name="T22" fmla="*/ 1096 w 1824"/>
                <a:gd name="T23" fmla="*/ 236 h 2648"/>
                <a:gd name="T24" fmla="*/ 1164 w 1824"/>
                <a:gd name="T25" fmla="*/ 184 h 2648"/>
                <a:gd name="T26" fmla="*/ 1208 w 1824"/>
                <a:gd name="T27" fmla="*/ 154 h 2648"/>
                <a:gd name="T28" fmla="*/ 1224 w 1824"/>
                <a:gd name="T29" fmla="*/ 144 h 2648"/>
                <a:gd name="T30" fmla="*/ 1728 w 1824"/>
                <a:gd name="T31" fmla="*/ 56 h 2648"/>
                <a:gd name="T32" fmla="*/ 1568 w 1824"/>
                <a:gd name="T33" fmla="*/ 328 h 2648"/>
                <a:gd name="T34" fmla="*/ 1554 w 1824"/>
                <a:gd name="T35" fmla="*/ 332 h 2648"/>
                <a:gd name="T36" fmla="*/ 1514 w 1824"/>
                <a:gd name="T37" fmla="*/ 346 h 2648"/>
                <a:gd name="T38" fmla="*/ 1452 w 1824"/>
                <a:gd name="T39" fmla="*/ 370 h 2648"/>
                <a:gd name="T40" fmla="*/ 1370 w 1824"/>
                <a:gd name="T41" fmla="*/ 410 h 2648"/>
                <a:gd name="T42" fmla="*/ 1270 w 1824"/>
                <a:gd name="T43" fmla="*/ 466 h 2648"/>
                <a:gd name="T44" fmla="*/ 1158 w 1824"/>
                <a:gd name="T45" fmla="*/ 540 h 2648"/>
                <a:gd name="T46" fmla="*/ 1034 w 1824"/>
                <a:gd name="T47" fmla="*/ 636 h 2648"/>
                <a:gd name="T48" fmla="*/ 904 w 1824"/>
                <a:gd name="T49" fmla="*/ 756 h 2648"/>
                <a:gd name="T50" fmla="*/ 770 w 1824"/>
                <a:gd name="T51" fmla="*/ 900 h 2648"/>
                <a:gd name="T52" fmla="*/ 632 w 1824"/>
                <a:gd name="T53" fmla="*/ 1076 h 2648"/>
                <a:gd name="T54" fmla="*/ 498 w 1824"/>
                <a:gd name="T55" fmla="*/ 1280 h 2648"/>
                <a:gd name="T56" fmla="*/ 370 w 1824"/>
                <a:gd name="T57" fmla="*/ 1518 h 2648"/>
                <a:gd name="T58" fmla="*/ 248 w 1824"/>
                <a:gd name="T59" fmla="*/ 1792 h 2648"/>
                <a:gd name="T60" fmla="*/ 138 w 1824"/>
                <a:gd name="T61" fmla="*/ 2104 h 2648"/>
                <a:gd name="T62" fmla="*/ 42 w 1824"/>
                <a:gd name="T63" fmla="*/ 2456 h 2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24" h="2648">
                  <a:moveTo>
                    <a:pt x="0" y="2648"/>
                  </a:moveTo>
                  <a:lnTo>
                    <a:pt x="12" y="2464"/>
                  </a:lnTo>
                  <a:lnTo>
                    <a:pt x="32" y="2288"/>
                  </a:lnTo>
                  <a:lnTo>
                    <a:pt x="56" y="2120"/>
                  </a:lnTo>
                  <a:lnTo>
                    <a:pt x="88" y="1960"/>
                  </a:lnTo>
                  <a:lnTo>
                    <a:pt x="124" y="1808"/>
                  </a:lnTo>
                  <a:lnTo>
                    <a:pt x="166" y="1662"/>
                  </a:lnTo>
                  <a:lnTo>
                    <a:pt x="212" y="1524"/>
                  </a:lnTo>
                  <a:lnTo>
                    <a:pt x="262" y="1394"/>
                  </a:lnTo>
                  <a:lnTo>
                    <a:pt x="316" y="1270"/>
                  </a:lnTo>
                  <a:lnTo>
                    <a:pt x="372" y="1154"/>
                  </a:lnTo>
                  <a:lnTo>
                    <a:pt x="430" y="1044"/>
                  </a:lnTo>
                  <a:lnTo>
                    <a:pt x="490" y="942"/>
                  </a:lnTo>
                  <a:lnTo>
                    <a:pt x="550" y="846"/>
                  </a:lnTo>
                  <a:lnTo>
                    <a:pt x="612" y="758"/>
                  </a:lnTo>
                  <a:lnTo>
                    <a:pt x="672" y="674"/>
                  </a:lnTo>
                  <a:lnTo>
                    <a:pt x="734" y="598"/>
                  </a:lnTo>
                  <a:lnTo>
                    <a:pt x="792" y="528"/>
                  </a:lnTo>
                  <a:lnTo>
                    <a:pt x="850" y="464"/>
                  </a:lnTo>
                  <a:lnTo>
                    <a:pt x="906" y="408"/>
                  </a:lnTo>
                  <a:lnTo>
                    <a:pt x="960" y="356"/>
                  </a:lnTo>
                  <a:lnTo>
                    <a:pt x="1010" y="310"/>
                  </a:lnTo>
                  <a:lnTo>
                    <a:pt x="1056" y="270"/>
                  </a:lnTo>
                  <a:lnTo>
                    <a:pt x="1096" y="236"/>
                  </a:lnTo>
                  <a:lnTo>
                    <a:pt x="1134" y="208"/>
                  </a:lnTo>
                  <a:lnTo>
                    <a:pt x="1164" y="184"/>
                  </a:lnTo>
                  <a:lnTo>
                    <a:pt x="1190" y="166"/>
                  </a:lnTo>
                  <a:lnTo>
                    <a:pt x="1208" y="154"/>
                  </a:lnTo>
                  <a:lnTo>
                    <a:pt x="1220" y="146"/>
                  </a:lnTo>
                  <a:lnTo>
                    <a:pt x="1224" y="144"/>
                  </a:lnTo>
                  <a:lnTo>
                    <a:pt x="848" y="0"/>
                  </a:lnTo>
                  <a:lnTo>
                    <a:pt x="1728" y="56"/>
                  </a:lnTo>
                  <a:lnTo>
                    <a:pt x="1824" y="480"/>
                  </a:lnTo>
                  <a:lnTo>
                    <a:pt x="1568" y="328"/>
                  </a:lnTo>
                  <a:lnTo>
                    <a:pt x="1564" y="328"/>
                  </a:lnTo>
                  <a:lnTo>
                    <a:pt x="1554" y="332"/>
                  </a:lnTo>
                  <a:lnTo>
                    <a:pt x="1538" y="338"/>
                  </a:lnTo>
                  <a:lnTo>
                    <a:pt x="1514" y="346"/>
                  </a:lnTo>
                  <a:lnTo>
                    <a:pt x="1486" y="356"/>
                  </a:lnTo>
                  <a:lnTo>
                    <a:pt x="1452" y="370"/>
                  </a:lnTo>
                  <a:lnTo>
                    <a:pt x="1412" y="388"/>
                  </a:lnTo>
                  <a:lnTo>
                    <a:pt x="1370" y="410"/>
                  </a:lnTo>
                  <a:lnTo>
                    <a:pt x="1322" y="436"/>
                  </a:lnTo>
                  <a:lnTo>
                    <a:pt x="1270" y="466"/>
                  </a:lnTo>
                  <a:lnTo>
                    <a:pt x="1216" y="500"/>
                  </a:lnTo>
                  <a:lnTo>
                    <a:pt x="1158" y="540"/>
                  </a:lnTo>
                  <a:lnTo>
                    <a:pt x="1098" y="584"/>
                  </a:lnTo>
                  <a:lnTo>
                    <a:pt x="1034" y="636"/>
                  </a:lnTo>
                  <a:lnTo>
                    <a:pt x="970" y="692"/>
                  </a:lnTo>
                  <a:lnTo>
                    <a:pt x="904" y="756"/>
                  </a:lnTo>
                  <a:lnTo>
                    <a:pt x="836" y="824"/>
                  </a:lnTo>
                  <a:lnTo>
                    <a:pt x="770" y="900"/>
                  </a:lnTo>
                  <a:lnTo>
                    <a:pt x="700" y="984"/>
                  </a:lnTo>
                  <a:lnTo>
                    <a:pt x="632" y="1076"/>
                  </a:lnTo>
                  <a:lnTo>
                    <a:pt x="566" y="1174"/>
                  </a:lnTo>
                  <a:lnTo>
                    <a:pt x="498" y="1280"/>
                  </a:lnTo>
                  <a:lnTo>
                    <a:pt x="434" y="1394"/>
                  </a:lnTo>
                  <a:lnTo>
                    <a:pt x="370" y="1518"/>
                  </a:lnTo>
                  <a:lnTo>
                    <a:pt x="308" y="1650"/>
                  </a:lnTo>
                  <a:lnTo>
                    <a:pt x="248" y="1792"/>
                  </a:lnTo>
                  <a:lnTo>
                    <a:pt x="192" y="1944"/>
                  </a:lnTo>
                  <a:lnTo>
                    <a:pt x="138" y="2104"/>
                  </a:lnTo>
                  <a:lnTo>
                    <a:pt x="88" y="2274"/>
                  </a:lnTo>
                  <a:lnTo>
                    <a:pt x="42" y="2456"/>
                  </a:lnTo>
                  <a:lnTo>
                    <a:pt x="0" y="2648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FACD69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1" name="Rectangle 22"/>
            <p:cNvSpPr>
              <a:spLocks noChangeArrowheads="1"/>
            </p:cNvSpPr>
            <p:nvPr/>
          </p:nvSpPr>
          <p:spPr bwMode="gray">
            <a:xfrm>
              <a:off x="3082" y="1787"/>
              <a:ext cx="1743" cy="192"/>
            </a:xfrm>
            <a:prstGeom prst="rect">
              <a:avLst/>
            </a:prstGeom>
            <a:gradFill rotWithShape="1">
              <a:gsLst>
                <a:gs pos="0">
                  <a:schemeClr val="accent2">
                    <a:gamma/>
                    <a:shade val="72549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/>
              <a:r>
                <a:rPr lang="ru-RU" sz="1200" b="1" dirty="0" smtClean="0">
                  <a:solidFill>
                    <a:srgbClr val="FFFFFF"/>
                  </a:solidFill>
                  <a:latin typeface="Verdana" pitchFamily="34" charset="0"/>
                </a:rPr>
                <a:t>Процессное </a:t>
              </a:r>
              <a:r>
                <a:rPr lang="ru-RU" sz="1200" b="1" dirty="0">
                  <a:solidFill>
                    <a:srgbClr val="FFFFFF"/>
                  </a:solidFill>
                  <a:latin typeface="Verdana" pitchFamily="34" charset="0"/>
                </a:rPr>
                <a:t>управление</a:t>
              </a:r>
              <a:endParaRPr lang="en-US" sz="1200" b="1" dirty="0">
                <a:solidFill>
                  <a:srgbClr val="FFFFFF"/>
                </a:solidFill>
                <a:latin typeface="Verdana" pitchFamily="34" charset="0"/>
              </a:endParaRPr>
            </a:p>
          </p:txBody>
        </p:sp>
        <p:sp>
          <p:nvSpPr>
            <p:cNvPr id="22" name="Rectangle 23"/>
            <p:cNvSpPr>
              <a:spLocks noChangeArrowheads="1"/>
            </p:cNvSpPr>
            <p:nvPr/>
          </p:nvSpPr>
          <p:spPr bwMode="gray">
            <a:xfrm>
              <a:off x="2556" y="2310"/>
              <a:ext cx="1900" cy="188"/>
            </a:xfrm>
            <a:prstGeom prst="rect">
              <a:avLst/>
            </a:prstGeom>
            <a:gradFill rotWithShape="1">
              <a:gsLst>
                <a:gs pos="0">
                  <a:schemeClr val="hlink">
                    <a:gamma/>
                    <a:shade val="72549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/>
              <a:r>
                <a:rPr lang="ru-RU" sz="1200" b="1">
                  <a:solidFill>
                    <a:srgbClr val="FFFFFF"/>
                  </a:solidFill>
                  <a:latin typeface="Verdana" pitchFamily="34" charset="0"/>
                </a:rPr>
                <a:t>Анализ.  Выбор решений</a:t>
              </a:r>
              <a:endParaRPr lang="en-US" sz="1200" b="1">
                <a:solidFill>
                  <a:srgbClr val="FFFFFF"/>
                </a:solidFill>
                <a:latin typeface="Verdana" pitchFamily="34" charset="0"/>
              </a:endParaRPr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gray">
            <a:xfrm>
              <a:off x="2036" y="2494"/>
              <a:ext cx="2415" cy="343"/>
            </a:xfrm>
            <a:custGeom>
              <a:avLst/>
              <a:gdLst>
                <a:gd name="T0" fmla="*/ 1742 w 2048"/>
                <a:gd name="T1" fmla="*/ 286 h 286"/>
                <a:gd name="T2" fmla="*/ 0 w 2048"/>
                <a:gd name="T3" fmla="*/ 286 h 286"/>
                <a:gd name="T4" fmla="*/ 446 w 2048"/>
                <a:gd name="T5" fmla="*/ 0 h 286"/>
                <a:gd name="T6" fmla="*/ 2048 w 2048"/>
                <a:gd name="T7" fmla="*/ 0 h 286"/>
                <a:gd name="T8" fmla="*/ 1742 w 2048"/>
                <a:gd name="T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8" h="286">
                  <a:moveTo>
                    <a:pt x="1742" y="286"/>
                  </a:moveTo>
                  <a:lnTo>
                    <a:pt x="0" y="286"/>
                  </a:lnTo>
                  <a:lnTo>
                    <a:pt x="446" y="0"/>
                  </a:lnTo>
                  <a:lnTo>
                    <a:pt x="2048" y="0"/>
                  </a:lnTo>
                  <a:lnTo>
                    <a:pt x="1742" y="28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0">
                  <a:solidFill>
                    <a:srgbClr val="80808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" name="Rectangle 25"/>
            <p:cNvSpPr>
              <a:spLocks noChangeArrowheads="1"/>
            </p:cNvSpPr>
            <p:nvPr/>
          </p:nvSpPr>
          <p:spPr bwMode="gray">
            <a:xfrm>
              <a:off x="2038" y="2836"/>
              <a:ext cx="2056" cy="188"/>
            </a:xfrm>
            <a:prstGeom prst="rect">
              <a:avLst/>
            </a:prstGeom>
            <a:gradFill rotWithShape="1">
              <a:gsLst>
                <a:gs pos="0">
                  <a:schemeClr val="accent1">
                    <a:gamma/>
                    <a:shade val="72549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/>
              <a:r>
                <a:rPr lang="ru-RU" sz="1200" b="1" dirty="0">
                  <a:latin typeface="Verdana" pitchFamily="34" charset="0"/>
                </a:rPr>
                <a:t>Сбор данных. Мониторинг процессов</a:t>
              </a:r>
              <a:endParaRPr lang="en-US" sz="1200" b="1" dirty="0">
                <a:latin typeface="Verdana" pitchFamily="34" charset="0"/>
              </a:endParaRPr>
            </a:p>
          </p:txBody>
        </p:sp>
        <p:sp>
          <p:nvSpPr>
            <p:cNvPr id="25" name="Rectangle 26"/>
            <p:cNvSpPr>
              <a:spLocks noChangeArrowheads="1"/>
            </p:cNvSpPr>
            <p:nvPr/>
          </p:nvSpPr>
          <p:spPr bwMode="gray">
            <a:xfrm>
              <a:off x="1514" y="3363"/>
              <a:ext cx="2213" cy="187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/>
              <a:r>
                <a:rPr lang="ru-RU" sz="1600" b="1">
                  <a:solidFill>
                    <a:srgbClr val="FFFFFF"/>
                  </a:solidFill>
                  <a:latin typeface="Verdana" pitchFamily="34" charset="0"/>
                </a:rPr>
                <a:t>Интуитивное управление</a:t>
              </a:r>
              <a:endParaRPr lang="en-US" sz="1600" b="1">
                <a:solidFill>
                  <a:srgbClr val="FFFFFF"/>
                </a:solidFill>
                <a:latin typeface="Verdana" pitchFamily="34" charset="0"/>
              </a:endParaRPr>
            </a:p>
          </p:txBody>
        </p:sp>
      </p:grpSp>
      <p:sp>
        <p:nvSpPr>
          <p:cNvPr id="26" name="Text Box 27"/>
          <p:cNvSpPr txBox="1">
            <a:spLocks noChangeArrowheads="1"/>
          </p:cNvSpPr>
          <p:nvPr/>
        </p:nvSpPr>
        <p:spPr bwMode="auto">
          <a:xfrm>
            <a:off x="1042988" y="4941888"/>
            <a:ext cx="172878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/>
              <a:t>Информатизация на уровне статистики</a:t>
            </a:r>
          </a:p>
        </p:txBody>
      </p:sp>
      <p:sp>
        <p:nvSpPr>
          <p:cNvPr id="27" name="Text Box 28"/>
          <p:cNvSpPr txBox="1">
            <a:spLocks noChangeArrowheads="1"/>
          </p:cNvSpPr>
          <p:nvPr/>
        </p:nvSpPr>
        <p:spPr bwMode="auto">
          <a:xfrm>
            <a:off x="1042988" y="4076700"/>
            <a:ext cx="2016125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/>
              <a:t>Формирование единой концепции и инфраструктуры</a:t>
            </a:r>
          </a:p>
        </p:txBody>
      </p:sp>
      <p:sp>
        <p:nvSpPr>
          <p:cNvPr id="28" name="Text Box 29"/>
          <p:cNvSpPr txBox="1">
            <a:spLocks noChangeArrowheads="1"/>
          </p:cNvSpPr>
          <p:nvPr/>
        </p:nvSpPr>
        <p:spPr bwMode="auto">
          <a:xfrm>
            <a:off x="1042988" y="3213100"/>
            <a:ext cx="2376487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/>
              <a:t>Выполнение системных проектов информатизации. Пилотные проекты</a:t>
            </a:r>
          </a:p>
        </p:txBody>
      </p:sp>
      <p:sp>
        <p:nvSpPr>
          <p:cNvPr id="29" name="Text Box 30"/>
          <p:cNvSpPr txBox="1">
            <a:spLocks noChangeArrowheads="1"/>
          </p:cNvSpPr>
          <p:nvPr/>
        </p:nvSpPr>
        <p:spPr bwMode="auto">
          <a:xfrm>
            <a:off x="1042988" y="2420938"/>
            <a:ext cx="280828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/>
              <a:t>Тотальное использование информатизации для управления</a:t>
            </a:r>
          </a:p>
        </p:txBody>
      </p:sp>
      <p:sp>
        <p:nvSpPr>
          <p:cNvPr id="31" name="Text Box 31"/>
          <p:cNvSpPr txBox="1">
            <a:spLocks noChangeArrowheads="1"/>
          </p:cNvSpPr>
          <p:nvPr/>
        </p:nvSpPr>
        <p:spPr bwMode="auto">
          <a:xfrm>
            <a:off x="-17714" y="908720"/>
            <a:ext cx="91440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dirty="0">
                <a:solidFill>
                  <a:srgbClr val="002060"/>
                </a:solidFill>
                <a:latin typeface="Arial Narrow" pitchFamily="34" charset="0"/>
              </a:rPr>
              <a:t>   Переход от интуитивного к процессному управлению с использованием      возможностей информационных технологий</a:t>
            </a:r>
            <a:r>
              <a:rPr lang="ru-RU" sz="2400" i="1" dirty="0">
                <a:solidFill>
                  <a:srgbClr val="002060"/>
                </a:solidFill>
                <a:latin typeface="Arial Narrow" pitchFamily="34" charset="0"/>
              </a:rPr>
              <a:t>.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flipV="1">
            <a:off x="4067944" y="4797152"/>
            <a:ext cx="720080" cy="57606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4788024" y="4437112"/>
            <a:ext cx="0" cy="3600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V="1">
            <a:off x="4788024" y="3933056"/>
            <a:ext cx="648072" cy="504056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5436096" y="3645024"/>
            <a:ext cx="0" cy="28803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5436096" y="3140968"/>
            <a:ext cx="720080" cy="504056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V="1">
            <a:off x="6156176" y="2852936"/>
            <a:ext cx="0" cy="28803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 flipV="1">
            <a:off x="6156176" y="2492896"/>
            <a:ext cx="432048" cy="360040"/>
          </a:xfrm>
          <a:prstGeom prst="straightConnector1">
            <a:avLst/>
          </a:prstGeom>
          <a:ln w="2857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 bwMode="gray">
          <a:xfrm>
            <a:off x="0" y="335062"/>
            <a:ext cx="9144000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800" kern="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14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www.tiensmed.ru/news/uimg/44/rentgendiagnos1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00" b="98833" l="4500" r="986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770" y="4940002"/>
            <a:ext cx="1917998" cy="191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4" descr="http://ts4.mm.bing.net/images/thumbnail.aspx?q=1433987650383&amp;id=c149c8c0eb5a41d21edc4355137f853d&amp;url=http%3a%2f%2fcompliancenews.inhealthcare.com%2ffiles%2f2009%2f10%2fcomputed_tomography_of_brain_of_mikael_haggstrom_9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3544" y="1980858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http://upload.wikimedia.org/wikipedia/commons/a/a2/Tatarstan_population_density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24" b="98794" l="3509" r="99225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6" y="692696"/>
            <a:ext cx="8168655" cy="5527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Овал 4"/>
          <p:cNvSpPr/>
          <p:nvPr/>
        </p:nvSpPr>
        <p:spPr>
          <a:xfrm>
            <a:off x="4530874" y="339929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6485404" y="425654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5971054" y="286208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6372200" y="292494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6131074" y="314783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3925084" y="217628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1890544" y="392507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Oval 13"/>
          <p:cNvSpPr>
            <a:spLocks noChangeArrowheads="1"/>
          </p:cNvSpPr>
          <p:nvPr/>
        </p:nvSpPr>
        <p:spPr bwMode="auto">
          <a:xfrm>
            <a:off x="107505" y="1268760"/>
            <a:ext cx="2088232" cy="208823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9pPr>
          </a:lstStyle>
          <a:p>
            <a:endParaRPr lang="ru-RU" sz="1100"/>
          </a:p>
        </p:txBody>
      </p:sp>
      <p:pic>
        <p:nvPicPr>
          <p:cNvPr id="13" name="Picture 23" descr="1310811738_history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>
            <a:fillRect/>
          </a:stretch>
        </p:blipFill>
        <p:spPr bwMode="auto">
          <a:xfrm>
            <a:off x="398994" y="1560250"/>
            <a:ext cx="1580718" cy="1580718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395536" y="1844824"/>
            <a:ext cx="14401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/>
              <a:t>24 часа в сутки</a:t>
            </a:r>
            <a:endParaRPr lang="ru-RU" sz="2400" dirty="0"/>
          </a:p>
        </p:txBody>
      </p:sp>
      <p:sp>
        <p:nvSpPr>
          <p:cNvPr id="16" name="Цилиндр 15"/>
          <p:cNvSpPr/>
          <p:nvPr/>
        </p:nvSpPr>
        <p:spPr>
          <a:xfrm>
            <a:off x="3131840" y="2420888"/>
            <a:ext cx="432048" cy="504056"/>
          </a:xfrm>
          <a:prstGeom prst="ca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олилиния 27"/>
          <p:cNvSpPr/>
          <p:nvPr/>
        </p:nvSpPr>
        <p:spPr>
          <a:xfrm>
            <a:off x="3563888" y="2636912"/>
            <a:ext cx="2871202" cy="186298"/>
          </a:xfrm>
          <a:custGeom>
            <a:avLst/>
            <a:gdLst>
              <a:gd name="connsiteX0" fmla="*/ 3274047 w 3274047"/>
              <a:gd name="connsiteY0" fmla="*/ 209630 h 209630"/>
              <a:gd name="connsiteX1" fmla="*/ 290817 w 3274047"/>
              <a:gd name="connsiteY1" fmla="*/ 15320 h 209630"/>
              <a:gd name="connsiteX2" fmla="*/ 279387 w 3274047"/>
              <a:gd name="connsiteY2" fmla="*/ 26750 h 20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4047" h="209630">
                <a:moveTo>
                  <a:pt x="3274047" y="209630"/>
                </a:moveTo>
                <a:lnTo>
                  <a:pt x="290817" y="15320"/>
                </a:lnTo>
                <a:cubicBezTo>
                  <a:pt x="-208293" y="-15160"/>
                  <a:pt x="35547" y="5795"/>
                  <a:pt x="279387" y="26750"/>
                </a:cubicBezTo>
              </a:path>
            </a:pathLst>
          </a:custGeom>
          <a:ln w="127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0" name="Скругленная соединительная линия 29"/>
          <p:cNvCxnSpPr>
            <a:stCxn id="5" idx="3"/>
          </p:cNvCxnSpPr>
          <p:nvPr/>
        </p:nvCxnSpPr>
        <p:spPr>
          <a:xfrm rot="5400000" flipH="1">
            <a:off x="3564355" y="2636446"/>
            <a:ext cx="864217" cy="1153183"/>
          </a:xfrm>
          <a:prstGeom prst="curvedConnector4">
            <a:avLst>
              <a:gd name="adj1" fmla="val -26452"/>
              <a:gd name="adj2" fmla="val 51829"/>
            </a:avLst>
          </a:prstGeom>
          <a:ln w="127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6" name="Скругленная соединительная линия 4095"/>
          <p:cNvCxnSpPr>
            <a:stCxn id="6" idx="1"/>
          </p:cNvCxnSpPr>
          <p:nvPr/>
        </p:nvCxnSpPr>
        <p:spPr>
          <a:xfrm rot="16200000" flipV="1">
            <a:off x="4286839" y="2057978"/>
            <a:ext cx="1517797" cy="2963697"/>
          </a:xfrm>
          <a:prstGeom prst="curvedConnector2">
            <a:avLst/>
          </a:prstGeom>
          <a:ln w="127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9" name="Скругленная соединительная линия 4098"/>
          <p:cNvCxnSpPr>
            <a:stCxn id="11" idx="2"/>
            <a:endCxn id="16" idx="2"/>
          </p:cNvCxnSpPr>
          <p:nvPr/>
        </p:nvCxnSpPr>
        <p:spPr>
          <a:xfrm rot="10800000" flipH="1">
            <a:off x="1890544" y="2672916"/>
            <a:ext cx="1241296" cy="1396174"/>
          </a:xfrm>
          <a:prstGeom prst="curvedConnector3">
            <a:avLst>
              <a:gd name="adj1" fmla="val -18416"/>
            </a:avLst>
          </a:prstGeom>
          <a:ln w="1905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1" name="Скругленная соединительная линия 4100"/>
          <p:cNvCxnSpPr>
            <a:stCxn id="10" idx="7"/>
            <a:endCxn id="16" idx="1"/>
          </p:cNvCxnSpPr>
          <p:nvPr/>
        </p:nvCxnSpPr>
        <p:spPr>
          <a:xfrm rot="16200000" flipH="1" flipV="1">
            <a:off x="3658188" y="1908140"/>
            <a:ext cx="202423" cy="823071"/>
          </a:xfrm>
          <a:prstGeom prst="curvedConnector3">
            <a:avLst>
              <a:gd name="adj1" fmla="val -133770"/>
            </a:avLst>
          </a:prstGeom>
          <a:ln w="127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" name="Скругленная соединительная линия 4102"/>
          <p:cNvCxnSpPr>
            <a:stCxn id="7" idx="0"/>
          </p:cNvCxnSpPr>
          <p:nvPr/>
        </p:nvCxnSpPr>
        <p:spPr>
          <a:xfrm rot="16200000" flipV="1">
            <a:off x="4690889" y="1437903"/>
            <a:ext cx="369188" cy="2479174"/>
          </a:xfrm>
          <a:prstGeom prst="curvedConnector2">
            <a:avLst/>
          </a:prstGeom>
          <a:ln w="127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5" name="Скругленная соединительная линия 4104"/>
          <p:cNvCxnSpPr>
            <a:stCxn id="9" idx="4"/>
            <a:endCxn id="16" idx="3"/>
          </p:cNvCxnSpPr>
          <p:nvPr/>
        </p:nvCxnSpPr>
        <p:spPr>
          <a:xfrm rot="5400000" flipH="1">
            <a:off x="4556016" y="1716792"/>
            <a:ext cx="510922" cy="2927226"/>
          </a:xfrm>
          <a:prstGeom prst="curvedConnector3">
            <a:avLst>
              <a:gd name="adj1" fmla="val -44743"/>
            </a:avLst>
          </a:prstGeom>
          <a:ln w="127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7" name="Picture 4" descr="http://ts3.mm.bing.net/images/thumbnail.aspx?q=1522284374814&amp;id=cd33d34e9b38809f9c1f67fe6bb42ebd&amp;url=http%3a%2f%2fdiagnosis.ucoz.ru%2flogo.gif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5776" y="2348482"/>
            <a:ext cx="1428750" cy="115252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Овал 44"/>
          <p:cNvSpPr/>
          <p:nvPr/>
        </p:nvSpPr>
        <p:spPr>
          <a:xfrm>
            <a:off x="6462544" y="424511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/>
          <p:cNvSpPr/>
          <p:nvPr/>
        </p:nvSpPr>
        <p:spPr>
          <a:xfrm>
            <a:off x="7056904" y="4965204"/>
            <a:ext cx="288032" cy="2880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109" name="Скругленная соединительная линия 4108"/>
          <p:cNvCxnSpPr/>
          <p:nvPr/>
        </p:nvCxnSpPr>
        <p:spPr>
          <a:xfrm rot="10800000">
            <a:off x="3275856" y="3212976"/>
            <a:ext cx="3888432" cy="1872208"/>
          </a:xfrm>
          <a:prstGeom prst="curvedConnector3">
            <a:avLst>
              <a:gd name="adj1" fmla="val 50000"/>
            </a:avLst>
          </a:prstGeom>
          <a:ln w="12700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3" name="Овал 4112"/>
          <p:cNvSpPr/>
          <p:nvPr/>
        </p:nvSpPr>
        <p:spPr>
          <a:xfrm>
            <a:off x="2627784" y="2276872"/>
            <a:ext cx="1152128" cy="1152128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0" y="404664"/>
            <a:ext cx="9144000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ект организации ЕДИНОЙ ПО Республике Татарстан круглосуточной службы  врача консультанта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30" name="Picture 6" descr="http://ts3.mm.bing.net/images/thumbnail.aspx?q=1532144323822&amp;id=f37f2f745819ac0aadd6515fd4bbd94a&amp;url=http%3a%2f%2fwww.artvladivostok.ru%2fwp-content%2fgallery%2fartistsunion-portraits-1%2fartistsunion-portraits-1-01.jp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4248" y="2564904"/>
            <a:ext cx="865056" cy="122413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28184" y="3356992"/>
            <a:ext cx="2520280" cy="4001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нтген-лаборант</a:t>
            </a:r>
            <a:endParaRPr lang="ru-RU" sz="20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67744" y="5805264"/>
            <a:ext cx="4608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журный врач-консультант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8" name="Прямая со стрелкой 17"/>
          <p:cNvCxnSpPr/>
          <p:nvPr/>
        </p:nvCxnSpPr>
        <p:spPr>
          <a:xfrm flipH="1">
            <a:off x="2195736" y="3429000"/>
            <a:ext cx="720080" cy="1656184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endCxn id="4107" idx="6"/>
          </p:cNvCxnSpPr>
          <p:nvPr/>
        </p:nvCxnSpPr>
        <p:spPr>
          <a:xfrm flipH="1" flipV="1">
            <a:off x="3984526" y="2924745"/>
            <a:ext cx="2747714" cy="360239"/>
          </a:xfrm>
          <a:prstGeom prst="straightConnector1">
            <a:avLst/>
          </a:prstGeom>
          <a:ln w="28575">
            <a:solidFill>
              <a:srgbClr val="C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37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happylots.com/images/product_images/popup_images/Senior_Citizen_Phone_Phone_IfOnX7iu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1840" y="5229200"/>
            <a:ext cx="2195736" cy="1441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G:\IMG_0012-2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39" b="100000" l="85" r="9932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8024" y="1340768"/>
            <a:ext cx="3365400" cy="5048099"/>
          </a:xfrm>
          <a:prstGeom prst="rect">
            <a:avLst/>
          </a:prstGeom>
          <a:noFill/>
        </p:spPr>
      </p:pic>
      <p:sp>
        <p:nvSpPr>
          <p:cNvPr id="20482" name="Rectangle 2"/>
          <p:cNvSpPr>
            <a:spLocks/>
          </p:cNvSpPr>
          <p:nvPr/>
        </p:nvSpPr>
        <p:spPr bwMode="auto">
          <a:xfrm>
            <a:off x="2411760" y="404664"/>
            <a:ext cx="5184808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>
              <a:lnSpc>
                <a:spcPct val="90000"/>
              </a:lnSpc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" charset="0"/>
                <a:cs typeface="Arial" pitchFamily="34" charset="0"/>
                <a:sym typeface="Gill Sans" charset="0"/>
              </a:rPr>
              <a:t>Удаленный мониторинг состояния здоровья</a:t>
            </a: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  <a:latin typeface="Gill Sans" charset="0"/>
              <a:cs typeface="Arial" pitchFamily="34" charset="0"/>
              <a:sym typeface="Gill Sans" charset="0"/>
            </a:endParaRP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2060848"/>
            <a:ext cx="3867698" cy="3214710"/>
          </a:xfrm>
        </p:spPr>
        <p:txBody>
          <a:bodyPr anchor="ctr"/>
          <a:lstStyle/>
          <a:p>
            <a:pPr algn="l">
              <a:buFont typeface="Arial" pitchFamily="34" charset="0"/>
              <a:buChar char="•"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Электрокардиограф</a:t>
            </a:r>
          </a:p>
          <a:p>
            <a:pPr algn="l">
              <a:buFont typeface="Arial" pitchFamily="34" charset="0"/>
              <a:buChar char="•"/>
            </a:pPr>
            <a:r>
              <a:rPr lang="ru-RU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Глюкометр</a:t>
            </a: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l">
              <a:buFont typeface="Arial" pitchFamily="34" charset="0"/>
              <a:buChar char="•"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онометр</a:t>
            </a:r>
          </a:p>
          <a:p>
            <a:pPr algn="l">
              <a:buFont typeface="Arial" pitchFamily="34" charset="0"/>
              <a:buChar char="•"/>
            </a:pPr>
            <a:r>
              <a:rPr lang="ru-RU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Пульсоксиметр</a:t>
            </a: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l">
              <a:buFont typeface="Arial" pitchFamily="34" charset="0"/>
              <a:buChar char="•"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ибор для измерения массы тела</a:t>
            </a:r>
          </a:p>
          <a:p>
            <a:pPr algn="l">
              <a:buFont typeface="Arial" pitchFamily="34" charset="0"/>
              <a:buChar char="•"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нализатор мочи</a:t>
            </a:r>
          </a:p>
          <a:p>
            <a:pPr marL="214305" indent="-214305">
              <a:buClr>
                <a:srgbClr val="414141"/>
              </a:buClr>
              <a:buSzPct val="81000"/>
              <a:defRPr/>
            </a:pPr>
            <a:endParaRPr lang="en-US" sz="1800" dirty="0"/>
          </a:p>
        </p:txBody>
      </p:sp>
      <p:sp>
        <p:nvSpPr>
          <p:cNvPr id="20484" name="Rectangle 4"/>
          <p:cNvSpPr>
            <a:spLocks/>
          </p:cNvSpPr>
          <p:nvPr/>
        </p:nvSpPr>
        <p:spPr bwMode="auto">
          <a:xfrm>
            <a:off x="467544" y="980728"/>
            <a:ext cx="8568952" cy="8237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бильный комплект 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агностического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борудования, изготовленный в Республике Татарстан 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Arial Unicode MS" pitchFamily="34" charset="-128"/>
              <a:cs typeface="Arial" pitchFamily="34" charset="0"/>
              <a:sym typeface="Arial Unicode MS" pitchFamily="34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941877"/>
      </p:ext>
    </p:extLst>
  </p:cSld>
  <p:clrMapOvr>
    <a:masterClrMapping/>
  </p:clrMapOvr>
  <p:transition spd="med">
    <p:push dir="r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512" y="555171"/>
            <a:ext cx="9144000" cy="6293836"/>
          </a:xfrm>
          <a:prstGeom prst="rect">
            <a:avLst/>
          </a:prstGeom>
          <a:solidFill>
            <a:srgbClr val="000000">
              <a:alpha val="34118"/>
            </a:srgbClr>
          </a:solidFill>
          <a:ln>
            <a:noFill/>
          </a:ln>
          <a:effectLst/>
          <a:extLst/>
        </p:spPr>
      </p:pic>
      <p:pic>
        <p:nvPicPr>
          <p:cNvPr id="136194" name="Picture 2" descr="C:\Users\Пользователь\Desktop\IMG_6657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8739" r="9321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62008"/>
            <a:ext cx="9144000" cy="6282470"/>
          </a:xfrm>
          <a:prstGeom prst="rect">
            <a:avLst/>
          </a:prstGeom>
          <a:solidFill>
            <a:srgbClr val="000000">
              <a:alpha val="40000"/>
            </a:srgbClr>
          </a:solidFill>
          <a:extLst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79512" y="18661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         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С 2010 года издается журнал «ЗДОРОВЬЕ НАЦИИ» 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170" name="Picture 2" descr="File:Kazan-universiade-opening-arena1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8566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850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8DC6595-7F88-4E5F-BEE4-C00266547257}" type="slidenum">
              <a:rPr lang="ru-RU" sz="1400" smtClean="0"/>
              <a:pPr eaLnBrk="1" hangingPunct="1"/>
              <a:t>33</a:t>
            </a:fld>
            <a:endParaRPr lang="ru-RU" sz="1400" smtClean="0"/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bg1">
                    <a:lumMod val="85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bg1">
                    <a:lumMod val="85000"/>
                  </a:schemeClr>
                </a:solidFill>
              </a:rPr>
              <a:t>2013</a:t>
            </a:r>
            <a:endParaRPr lang="ru-RU" sz="12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512" y="692696"/>
            <a:ext cx="86409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162 страны                                                                        </a:t>
            </a:r>
          </a:p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10 500 участников</a:t>
            </a:r>
          </a:p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27 видов спорта</a:t>
            </a:r>
          </a:p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350 комплектов медалей</a:t>
            </a:r>
          </a:p>
          <a:p>
            <a:endParaRPr lang="ru-RU" sz="2000" dirty="0" smtClean="0">
              <a:solidFill>
                <a:schemeClr val="bg1">
                  <a:lumMod val="85000"/>
                </a:schemeClr>
              </a:solidFill>
              <a:latin typeface="Arial Narrow" pitchFamily="34" charset="0"/>
            </a:endParaRPr>
          </a:p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1309 врачей + 67 специалистов ФМБА</a:t>
            </a:r>
          </a:p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56 бригад скорой помощи</a:t>
            </a:r>
          </a:p>
          <a:p>
            <a:r>
              <a:rPr lang="ru-RU" sz="2000" dirty="0" smtClean="0">
                <a:solidFill>
                  <a:schemeClr val="bg1">
                    <a:lumMod val="85000"/>
                  </a:schemeClr>
                </a:solidFill>
                <a:latin typeface="Arial Narrow" pitchFamily="34" charset="0"/>
              </a:rPr>
              <a:t>13 500 обращений за медицинско помощью</a:t>
            </a:r>
          </a:p>
          <a:p>
            <a:endParaRPr lang="ru-RU" sz="2000" dirty="0">
              <a:solidFill>
                <a:schemeClr val="bg1">
                  <a:lumMod val="85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37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Пользователь\Desktop\ФОТО\МЗ РТ\Мотоциклы\панорама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0" y="0"/>
            <a:ext cx="9144000" cy="3587750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4DF74-988C-420F-861E-17B7198AD179}" type="slidenum">
              <a:rPr lang="ru-RU" smtClean="0"/>
              <a:pPr>
                <a:defRPr/>
              </a:pPr>
              <a:t>34</a:t>
            </a:fld>
            <a:endParaRPr lang="ru-RU"/>
          </a:p>
        </p:txBody>
      </p:sp>
      <p:pic>
        <p:nvPicPr>
          <p:cNvPr id="3" name="Picture 2" descr="C:\Users\Пользователь\Desktop\ФОТО\МЗ РТ\Мотоциклы\панорама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0" y="3270250"/>
            <a:ext cx="9144000" cy="3587750"/>
          </a:xfrm>
          <a:prstGeom prst="rect">
            <a:avLst/>
          </a:prstGeom>
          <a:noFill/>
          <a:effectLst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123728" y="2564904"/>
            <a:ext cx="4968552" cy="1754326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r>
              <a:rPr lang="ru-RU" sz="5400" b="1" cap="all" dirty="0" smtClean="0">
                <a:ln w="0"/>
                <a:solidFill>
                  <a:schemeClr val="tx1">
                    <a:lumMod val="50000"/>
                    <a:lumOff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</a:rPr>
              <a:t>До ВСТРЕЧИ</a:t>
            </a:r>
          </a:p>
          <a:p>
            <a:r>
              <a:rPr lang="ru-RU" sz="5400" b="1" cap="all" dirty="0" smtClean="0">
                <a:ln w="0"/>
                <a:solidFill>
                  <a:schemeClr val="tx1">
                    <a:lumMod val="50000"/>
                    <a:lumOff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</a:rPr>
              <a:t> в КАЗАНИ!</a:t>
            </a:r>
            <a:endParaRPr lang="ru-RU" sz="5400" b="1" cap="all" dirty="0">
              <a:ln w="0"/>
              <a:solidFill>
                <a:schemeClr val="tx1">
                  <a:lumMod val="50000"/>
                  <a:lumOff val="50000"/>
                </a:schemeClr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7402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0" y="6308725"/>
            <a:ext cx="9180513" cy="0"/>
          </a:xfrm>
          <a:prstGeom prst="line">
            <a:avLst/>
          </a:prstGeom>
          <a:ln w="38100" cmpd="dbl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9" name="TextBox 19"/>
          <p:cNvSpPr txBox="1">
            <a:spLocks noChangeArrowheads="1"/>
          </p:cNvSpPr>
          <p:nvPr/>
        </p:nvSpPr>
        <p:spPr bwMode="auto">
          <a:xfrm>
            <a:off x="5081588" y="2071688"/>
            <a:ext cx="19383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Кировская область</a:t>
            </a:r>
          </a:p>
        </p:txBody>
      </p:sp>
      <p:sp>
        <p:nvSpPr>
          <p:cNvPr id="4100" name="TextBox 21"/>
          <p:cNvSpPr txBox="1">
            <a:spLocks noChangeArrowheads="1"/>
          </p:cNvSpPr>
          <p:nvPr/>
        </p:nvSpPr>
        <p:spPr bwMode="auto">
          <a:xfrm>
            <a:off x="6865938" y="2112963"/>
            <a:ext cx="1939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Удмуртская Республика</a:t>
            </a:r>
          </a:p>
        </p:txBody>
      </p:sp>
      <p:sp>
        <p:nvSpPr>
          <p:cNvPr id="4101" name="TextBox 22"/>
          <p:cNvSpPr txBox="1">
            <a:spLocks noChangeArrowheads="1"/>
          </p:cNvSpPr>
          <p:nvPr/>
        </p:nvSpPr>
        <p:spPr bwMode="auto">
          <a:xfrm>
            <a:off x="3132138" y="2433638"/>
            <a:ext cx="19399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Республика Марий Эл</a:t>
            </a:r>
          </a:p>
        </p:txBody>
      </p:sp>
      <p:sp>
        <p:nvSpPr>
          <p:cNvPr id="4102" name="TextBox 26"/>
          <p:cNvSpPr txBox="1">
            <a:spLocks noChangeArrowheads="1"/>
          </p:cNvSpPr>
          <p:nvPr/>
        </p:nvSpPr>
        <p:spPr bwMode="auto">
          <a:xfrm>
            <a:off x="4102100" y="5588000"/>
            <a:ext cx="19399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Самарская область</a:t>
            </a:r>
          </a:p>
        </p:txBody>
      </p:sp>
      <p:sp>
        <p:nvSpPr>
          <p:cNvPr id="4103" name="TextBox 27"/>
          <p:cNvSpPr txBox="1">
            <a:spLocks noChangeArrowheads="1"/>
          </p:cNvSpPr>
          <p:nvPr/>
        </p:nvSpPr>
        <p:spPr bwMode="auto">
          <a:xfrm>
            <a:off x="2163763" y="5414963"/>
            <a:ext cx="19383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Ульяновская область</a:t>
            </a:r>
          </a:p>
        </p:txBody>
      </p:sp>
      <p:sp>
        <p:nvSpPr>
          <p:cNvPr id="4104" name="TextBox 28"/>
          <p:cNvSpPr txBox="1">
            <a:spLocks noChangeArrowheads="1"/>
          </p:cNvSpPr>
          <p:nvPr/>
        </p:nvSpPr>
        <p:spPr bwMode="auto">
          <a:xfrm>
            <a:off x="1878692" y="3716338"/>
            <a:ext cx="19002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Чувашская Республика </a:t>
            </a:r>
          </a:p>
        </p:txBody>
      </p:sp>
      <p:sp>
        <p:nvSpPr>
          <p:cNvPr id="4105" name="TextBox 29"/>
          <p:cNvSpPr txBox="1">
            <a:spLocks noChangeArrowheads="1"/>
          </p:cNvSpPr>
          <p:nvPr/>
        </p:nvSpPr>
        <p:spPr bwMode="auto">
          <a:xfrm>
            <a:off x="22225" y="6330950"/>
            <a:ext cx="903605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latin typeface="Calibri" pitchFamily="34" charset="0"/>
              </a:rPr>
              <a:t>Йошкар-Олы-146 км,    Чебоксар- 169 км,   Ульяновска – 211 км,    Самары -362 км,    Кирова – 395 км,   Ижевска- 401 км,    Уфы-539 км,      Оренбурга – 718 км. </a:t>
            </a:r>
          </a:p>
        </p:txBody>
      </p:sp>
      <p:sp>
        <p:nvSpPr>
          <p:cNvPr id="4106" name="TextBox 30"/>
          <p:cNvSpPr txBox="1">
            <a:spLocks noChangeArrowheads="1"/>
          </p:cNvSpPr>
          <p:nvPr/>
        </p:nvSpPr>
        <p:spPr bwMode="auto">
          <a:xfrm>
            <a:off x="179388" y="6003925"/>
            <a:ext cx="16335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latin typeface="Calibri" pitchFamily="34" charset="0"/>
              </a:rPr>
              <a:t>От Казани до:</a:t>
            </a:r>
          </a:p>
        </p:txBody>
      </p:sp>
      <p:pic>
        <p:nvPicPr>
          <p:cNvPr id="4107" name="Picture 3" descr="tat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4363" y="2349500"/>
            <a:ext cx="5826125" cy="3613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Овал 24"/>
          <p:cNvSpPr/>
          <p:nvPr/>
        </p:nvSpPr>
        <p:spPr>
          <a:xfrm>
            <a:off x="4643438" y="3413125"/>
            <a:ext cx="234950" cy="23177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09" name="TextBox 23"/>
          <p:cNvSpPr txBox="1">
            <a:spLocks noChangeArrowheads="1"/>
          </p:cNvSpPr>
          <p:nvPr/>
        </p:nvSpPr>
        <p:spPr bwMode="auto">
          <a:xfrm>
            <a:off x="6608763" y="5778500"/>
            <a:ext cx="1939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Оренбургская область</a:t>
            </a:r>
          </a:p>
        </p:txBody>
      </p:sp>
      <p:sp>
        <p:nvSpPr>
          <p:cNvPr id="4110" name="TextBox 20"/>
          <p:cNvSpPr txBox="1">
            <a:spLocks noChangeArrowheads="1"/>
          </p:cNvSpPr>
          <p:nvPr/>
        </p:nvSpPr>
        <p:spPr bwMode="auto">
          <a:xfrm rot="-5400000">
            <a:off x="7490620" y="4456906"/>
            <a:ext cx="25384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200">
                <a:solidFill>
                  <a:srgbClr val="002060"/>
                </a:solidFill>
                <a:cs typeface="Arial" pitchFamily="34" charset="0"/>
              </a:rPr>
              <a:t>Республика Башкортостан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499992" y="764704"/>
            <a:ext cx="446449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Территория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– 67,8 тыс. кв. км</a:t>
            </a:r>
          </a:p>
          <a:p>
            <a:pPr eaLnBrk="1" hangingPunct="1"/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Плотность населения – 55,8 чел. </a:t>
            </a:r>
            <a:r>
              <a:rPr lang="ru-RU" sz="1800" dirty="0" err="1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кв.км</a:t>
            </a:r>
            <a:r>
              <a:rPr lang="ru-RU" sz="1800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.</a:t>
            </a: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>
            <a:off x="3708400" y="4156075"/>
            <a:ext cx="5189538" cy="0"/>
          </a:xfrm>
          <a:prstGeom prst="straightConnector1">
            <a:avLst/>
          </a:prstGeom>
          <a:ln w="571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5724525" y="3716338"/>
            <a:ext cx="1511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800" b="1" dirty="0">
                <a:solidFill>
                  <a:srgbClr val="C00000"/>
                </a:solidFill>
                <a:cs typeface="Arial" pitchFamily="34" charset="0"/>
              </a:rPr>
              <a:t>460 км</a:t>
            </a: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5724525" y="2389188"/>
            <a:ext cx="71438" cy="3198812"/>
          </a:xfrm>
          <a:prstGeom prst="straightConnector1">
            <a:avLst/>
          </a:prstGeom>
          <a:ln w="571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>
            <a:spLocks noChangeArrowheads="1"/>
          </p:cNvSpPr>
          <p:nvPr/>
        </p:nvSpPr>
        <p:spPr bwMode="auto">
          <a:xfrm rot="-5400000">
            <a:off x="5301457" y="2821781"/>
            <a:ext cx="15128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800" b="1">
                <a:solidFill>
                  <a:srgbClr val="C00000"/>
                </a:solidFill>
                <a:cs typeface="Arial" pitchFamily="34" charset="0"/>
              </a:rPr>
              <a:t>290 км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>
            <a:off x="971600" y="2348880"/>
            <a:ext cx="3789313" cy="1136253"/>
          </a:xfrm>
          <a:prstGeom prst="straightConnector1">
            <a:avLst/>
          </a:prstGeom>
          <a:ln w="57150">
            <a:solidFill>
              <a:srgbClr val="727C79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467544" y="1916832"/>
            <a:ext cx="504056" cy="5040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683568" y="1772816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Москва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TextBox 31"/>
          <p:cNvSpPr txBox="1">
            <a:spLocks noChangeArrowheads="1"/>
          </p:cNvSpPr>
          <p:nvPr/>
        </p:nvSpPr>
        <p:spPr bwMode="auto">
          <a:xfrm>
            <a:off x="1577067" y="2747510"/>
            <a:ext cx="15113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dirty="0" smtClean="0">
                <a:solidFill>
                  <a:srgbClr val="C00000"/>
                </a:solidFill>
                <a:cs typeface="Arial" pitchFamily="34" charset="0"/>
              </a:rPr>
              <a:t>82</a:t>
            </a:r>
            <a:r>
              <a:rPr lang="ru-RU" b="1" dirty="0">
                <a:solidFill>
                  <a:srgbClr val="C00000"/>
                </a:solidFill>
                <a:cs typeface="Arial" pitchFamily="34" charset="0"/>
              </a:rPr>
              <a:t>0</a:t>
            </a:r>
            <a:r>
              <a:rPr lang="ru-RU" b="1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cs typeface="Arial" pitchFamily="34" charset="0"/>
              </a:rPr>
              <a:t>км</a:t>
            </a:r>
          </a:p>
        </p:txBody>
      </p:sp>
      <p:pic>
        <p:nvPicPr>
          <p:cNvPr id="28" name="Picture 2" descr="Файл:Map of Russia - Republic of Tatarstan (2008-03).sv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7744" y="980728"/>
            <a:ext cx="2304256" cy="1330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1867" y="548680"/>
            <a:ext cx="29523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100" dirty="0">
                <a:solidFill>
                  <a:srgbClr val="002060"/>
                </a:solidFill>
              </a:rPr>
              <a:t>Татарстан является одной из центральных областей Российской Федерации, с уникальной историей, хорошими коммуникационными возможностями и развитой промышленностью.</a:t>
            </a:r>
          </a:p>
          <a:p>
            <a:endParaRPr lang="ru-RU" sz="1100" dirty="0">
              <a:solidFill>
                <a:srgbClr val="C00000"/>
              </a:solidFill>
            </a:endParaRPr>
          </a:p>
          <a:p>
            <a:endParaRPr lang="ru-RU" sz="1100" dirty="0">
              <a:solidFill>
                <a:srgbClr val="C00000"/>
              </a:solidFill>
            </a:endParaRPr>
          </a:p>
        </p:txBody>
      </p:sp>
      <p:sp>
        <p:nvSpPr>
          <p:cNvPr id="36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88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75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525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625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7250"/>
                            </p:stCondLst>
                            <p:childTnLst>
                              <p:par>
                                <p:cTn id="27" presetID="2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825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" grpId="0"/>
      <p:bldP spid="26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839E0E4-493C-4097-909F-24F63BDD3E11}" type="slidenum">
              <a:rPr lang="ru-RU" sz="1400" smtClean="0"/>
              <a:pPr eaLnBrk="1" hangingPunct="1"/>
              <a:t>5</a:t>
            </a:fld>
            <a:endParaRPr lang="ru-RU" sz="1400" smtClean="0"/>
          </a:p>
        </p:txBody>
      </p:sp>
      <p:sp>
        <p:nvSpPr>
          <p:cNvPr id="8195" name="Rectangle 2"/>
          <p:cNvSpPr>
            <a:spLocks noChangeArrowheads="1"/>
          </p:cNvSpPr>
          <p:nvPr/>
        </p:nvSpPr>
        <p:spPr bwMode="auto">
          <a:xfrm>
            <a:off x="0" y="1557338"/>
            <a:ext cx="9144000" cy="530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196" name="Rectangle 3"/>
          <p:cNvSpPr>
            <a:spLocks noChangeArrowheads="1"/>
          </p:cNvSpPr>
          <p:nvPr/>
        </p:nvSpPr>
        <p:spPr bwMode="auto">
          <a:xfrm>
            <a:off x="2484438" y="0"/>
            <a:ext cx="6659562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197" name="Text Box 4"/>
          <p:cNvSpPr txBox="1">
            <a:spLocks noChangeArrowheads="1"/>
          </p:cNvSpPr>
          <p:nvPr/>
        </p:nvSpPr>
        <p:spPr bwMode="auto">
          <a:xfrm>
            <a:off x="179388" y="2730524"/>
            <a:ext cx="8713787" cy="350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ndara" pitchFamily="34" charset="0"/>
              </a:rPr>
              <a:t>Создание инновационной и ориентированной на человека системы здравоохранения, которая стремится</a:t>
            </a: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:</a:t>
            </a: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   </a:t>
            </a: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                          </a:t>
            </a:r>
          </a:p>
          <a:p>
            <a:pPr eaLnBrk="1" hangingPunct="1">
              <a:spcBef>
                <a:spcPct val="50000"/>
              </a:spcBef>
            </a:pPr>
            <a:r>
              <a:rPr lang="ru-RU" sz="1800" dirty="0">
                <a:solidFill>
                  <a:schemeClr val="accent2"/>
                </a:solidFill>
                <a:latin typeface="Tahoma" pitchFamily="34" charset="0"/>
              </a:rPr>
              <a:t>-</a:t>
            </a:r>
            <a:r>
              <a:rPr lang="ru-RU" sz="2000" dirty="0">
                <a:solidFill>
                  <a:schemeClr val="accent2"/>
                </a:solidFill>
                <a:latin typeface="Tahoma" pitchFamily="34" charset="0"/>
              </a:rPr>
              <a:t> </a:t>
            </a: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поощрять здоровый образ жизни и снижение заболеваемости;</a:t>
            </a:r>
          </a:p>
          <a:p>
            <a:pPr eaLnBrk="1" hangingPunct="1">
              <a:spcBef>
                <a:spcPct val="50000"/>
              </a:spcBef>
            </a:pP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- обеспечивать жителям республики равный доступ к качественным услугам здравоохранения в соответствии с их потребностями;</a:t>
            </a:r>
          </a:p>
          <a:p>
            <a:pPr eaLnBrk="1" hangingPunct="1">
              <a:spcBef>
                <a:spcPct val="50000"/>
              </a:spcBef>
              <a:buFontTx/>
              <a:buChar char="-"/>
            </a:pP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 добиваться качества медицинского обслуживания;</a:t>
            </a:r>
          </a:p>
          <a:p>
            <a:pPr eaLnBrk="1" hangingPunct="1">
              <a:spcBef>
                <a:spcPct val="50000"/>
              </a:spcBef>
              <a:buFontTx/>
              <a:buChar char="-"/>
            </a:pP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 эффективно использовать выделенные средства и ресурсы</a:t>
            </a:r>
            <a:r>
              <a:rPr lang="ru-RU" sz="2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ndara" pitchFamily="34" charset="0"/>
              </a:rPr>
              <a:t>.</a:t>
            </a:r>
          </a:p>
        </p:txBody>
      </p:sp>
      <p:sp>
        <p:nvSpPr>
          <p:cNvPr id="8198" name="Text Box 5"/>
          <p:cNvSpPr txBox="1">
            <a:spLocks noChangeArrowheads="1"/>
          </p:cNvSpPr>
          <p:nvPr/>
        </p:nvSpPr>
        <p:spPr bwMode="auto">
          <a:xfrm>
            <a:off x="3059832" y="831677"/>
            <a:ext cx="5329187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i="1" dirty="0">
                <a:solidFill>
                  <a:srgbClr val="C00000"/>
                </a:solidFill>
                <a:latin typeface="Candara" pitchFamily="34" charset="0"/>
              </a:rPr>
              <a:t>     </a:t>
            </a:r>
            <a:r>
              <a:rPr lang="ru-RU" sz="2400" b="1" dirty="0">
                <a:solidFill>
                  <a:srgbClr val="C00000"/>
                </a:solidFill>
                <a:latin typeface="+mn-lt"/>
              </a:rPr>
              <a:t>МИССИЯ   </a:t>
            </a:r>
            <a:r>
              <a:rPr lang="en-US" sz="2400" b="1" dirty="0">
                <a:solidFill>
                  <a:srgbClr val="C00000"/>
                </a:solidFill>
                <a:latin typeface="+mn-lt"/>
              </a:rPr>
              <a:t>                       </a:t>
            </a:r>
            <a:r>
              <a:rPr lang="ru-RU" sz="2400" b="1" dirty="0">
                <a:solidFill>
                  <a:srgbClr val="C00000"/>
                </a:solidFill>
                <a:latin typeface="+mn-lt"/>
              </a:rPr>
              <a:t>Министерства здравоохранения      Республики Татарстан</a:t>
            </a:r>
          </a:p>
        </p:txBody>
      </p:sp>
      <p:pic>
        <p:nvPicPr>
          <p:cNvPr id="13319" name="Picture 6" descr="SUC5278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3595" y="437530"/>
            <a:ext cx="2916237" cy="19113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8201" name="Text Box 8"/>
          <p:cNvSpPr txBox="1">
            <a:spLocks noChangeArrowheads="1"/>
          </p:cNvSpPr>
          <p:nvPr/>
        </p:nvSpPr>
        <p:spPr bwMode="auto">
          <a:xfrm>
            <a:off x="3348038" y="6381750"/>
            <a:ext cx="29527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sz="1400"/>
          </a:p>
        </p:txBody>
      </p:sp>
      <p:pic>
        <p:nvPicPr>
          <p:cNvPr id="8202" name="Picture 9" descr="логотип мз рт англ копия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1902" y="1701180"/>
            <a:ext cx="490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4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Номер слайда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5F05D1B-9E65-4F52-B9DB-553084B50C80}" type="slidenum">
              <a:rPr lang="ru-RU" sz="1400" smtClean="0"/>
              <a:pPr eaLnBrk="1" hangingPunct="1"/>
              <a:t>6</a:t>
            </a:fld>
            <a:endParaRPr lang="ru-RU" sz="1400" smtClean="0"/>
          </a:p>
        </p:txBody>
      </p:sp>
      <p:pic>
        <p:nvPicPr>
          <p:cNvPr id="6147" name="Picture 2" descr="IMG_051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419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3419475" y="0"/>
            <a:ext cx="5724525" cy="9810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6149" name="Rectangle 6"/>
          <p:cNvSpPr>
            <a:spLocks noChangeArrowheads="1"/>
          </p:cNvSpPr>
          <p:nvPr/>
        </p:nvSpPr>
        <p:spPr bwMode="auto">
          <a:xfrm>
            <a:off x="4283968" y="476672"/>
            <a:ext cx="37898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здравоохранения Республики Татарстан</a:t>
            </a:r>
          </a:p>
        </p:txBody>
      </p:sp>
      <p:sp>
        <p:nvSpPr>
          <p:cNvPr id="6150" name="Rectangle 7"/>
          <p:cNvSpPr>
            <a:spLocks noChangeArrowheads="1"/>
          </p:cNvSpPr>
          <p:nvPr/>
        </p:nvSpPr>
        <p:spPr bwMode="auto">
          <a:xfrm>
            <a:off x="3851920" y="116632"/>
            <a:ext cx="458170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rPr>
              <a:t>Основные показатели деятельности учреждений </a:t>
            </a:r>
          </a:p>
        </p:txBody>
      </p:sp>
      <p:sp>
        <p:nvSpPr>
          <p:cNvPr id="6151" name="Rectangle 8"/>
          <p:cNvSpPr>
            <a:spLocks noChangeArrowheads="1"/>
          </p:cNvSpPr>
          <p:nvPr/>
        </p:nvSpPr>
        <p:spPr bwMode="auto">
          <a:xfrm>
            <a:off x="3132138" y="1125538"/>
            <a:ext cx="8229600" cy="367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Численность населения </a:t>
            </a:r>
            <a:r>
              <a:rPr lang="en-US" sz="2000" dirty="0">
                <a:latin typeface="Arial Narrow" pitchFamily="34" charset="0"/>
              </a:rPr>
              <a:t>-</a:t>
            </a:r>
            <a:r>
              <a:rPr lang="ru-RU" sz="2000" dirty="0">
                <a:latin typeface="Arial Narrow" pitchFamily="34" charset="0"/>
              </a:rPr>
              <a:t>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3,8 млн. человек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рачей</a:t>
            </a:r>
            <a:r>
              <a:rPr lang="ru-RU" sz="2000" dirty="0">
                <a:latin typeface="Arial Narrow" pitchFamily="34" charset="0"/>
              </a:rPr>
              <a:t> </a:t>
            </a:r>
            <a:r>
              <a:rPr lang="en-US" sz="2000" dirty="0">
                <a:latin typeface="Arial Narrow" pitchFamily="34" charset="0"/>
              </a:rPr>
              <a:t>-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12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180 </a:t>
            </a:r>
            <a:r>
              <a:rPr lang="ru-RU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( в системе МЗ РТ)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беспеченность врачами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–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32,0 (</a:t>
            </a:r>
            <a:r>
              <a:rPr lang="ru-RU" sz="2000" dirty="0" smtClean="0">
                <a:solidFill>
                  <a:srgbClr val="990000"/>
                </a:solidFill>
                <a:latin typeface="Arial Narrow" pitchFamily="34" charset="0"/>
              </a:rPr>
              <a:t>МЗ РФ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–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44,1 - </a:t>
            </a:r>
            <a:r>
              <a:rPr lang="ru-RU" sz="1600" dirty="0" smtClean="0">
                <a:solidFill>
                  <a:srgbClr val="990000"/>
                </a:solidFill>
                <a:latin typeface="Arial Narrow" pitchFamily="34" charset="0"/>
              </a:rPr>
              <a:t>2010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)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Больничных учреждений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-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79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Амбулаторных учреждений -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53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Фельдшерско-акушерских пунктов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-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1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790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Количество коек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–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25 903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беспеченность койками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–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68,1 (</a:t>
            </a:r>
            <a:r>
              <a:rPr lang="ru-RU" sz="2000" dirty="0" smtClean="0">
                <a:solidFill>
                  <a:srgbClr val="990000"/>
                </a:solidFill>
                <a:latin typeface="Arial Narrow" pitchFamily="34" charset="0"/>
              </a:rPr>
              <a:t>МЗ РФ </a:t>
            </a:r>
            <a:r>
              <a:rPr lang="ru-RU" sz="2000" b="1" dirty="0">
                <a:solidFill>
                  <a:srgbClr val="990000"/>
                </a:solidFill>
                <a:latin typeface="Arial Narrow" pitchFamily="34" charset="0"/>
              </a:rPr>
              <a:t>– 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88,1- </a:t>
            </a:r>
            <a:r>
              <a:rPr lang="ru-RU" sz="1600" dirty="0" smtClean="0">
                <a:solidFill>
                  <a:srgbClr val="990000"/>
                </a:solidFill>
                <a:latin typeface="Arial Narrow" pitchFamily="34" charset="0"/>
              </a:rPr>
              <a:t>2010</a:t>
            </a:r>
            <a:r>
              <a:rPr lang="ru-RU" sz="2000" b="1" dirty="0" smtClean="0">
                <a:solidFill>
                  <a:srgbClr val="990000"/>
                </a:solidFill>
                <a:latin typeface="Arial Narrow" pitchFamily="34" charset="0"/>
              </a:rPr>
              <a:t>)</a:t>
            </a:r>
            <a:endParaRPr lang="ru-RU" sz="2000" b="1" dirty="0">
              <a:solidFill>
                <a:srgbClr val="990000"/>
              </a:solidFill>
              <a:latin typeface="Arial Narrow" pitchFamily="34" charset="0"/>
            </a:endParaRPr>
          </a:p>
        </p:txBody>
      </p:sp>
      <p:pic>
        <p:nvPicPr>
          <p:cNvPr id="132098" name="Picture 2" descr="C:\Users\Пользователь\Desktop\ФОТО\!!!\IMG_3742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09458" y="4237716"/>
            <a:ext cx="5724129" cy="2636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31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331640" y="1628800"/>
            <a:ext cx="5616624" cy="3154710"/>
          </a:xfrm>
          <a:prstGeom prst="rect">
            <a:avLst/>
          </a:prstGeom>
          <a:noFill/>
          <a:effectLst>
            <a:softEdge rad="317500"/>
          </a:effectLst>
        </p:spPr>
        <p:txBody>
          <a:bodyPr wrap="square" rtlCol="0">
            <a:spAutoFit/>
          </a:bodyPr>
          <a:lstStyle/>
          <a:p>
            <a:r>
              <a:rPr lang="ru-RU" sz="19900" b="1" dirty="0" smtClean="0">
                <a:ln>
                  <a:solidFill>
                    <a:srgbClr val="B2B2B2"/>
                  </a:solidFill>
                </a:ln>
                <a:solidFill>
                  <a:schemeClr val="bg1">
                    <a:lumMod val="85000"/>
                  </a:schemeClr>
                </a:solidFill>
              </a:rPr>
              <a:t>2020</a:t>
            </a:r>
            <a:endParaRPr lang="ru-RU" sz="19900" b="1" dirty="0">
              <a:ln>
                <a:solidFill>
                  <a:srgbClr val="B2B2B2"/>
                </a:solidFill>
              </a:ln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92852" y="764704"/>
            <a:ext cx="895114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АДЕКВАТНОЕ ФИНАНСИРОВАНИЕ. ЦЕЛЕСООБРАЗНОЕ ПОСТРОЕНИЕ РЕСУРСОВ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РЕАЛИЗАЦИЯ ГОСУДАРСТВЕННОЙ ПРОГРАММЫ «РАЗВИТИЕ ЗДРАВООХРАНЕНИЯ РТ до 2020г.»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ПРИОРИТЕТНОЕ РАЗВИТИЕ ПЕРВИЧНОЙ МЕДИЦИНСКОЙ ПОМОЩИ В Т.Ч. НА СЕЛЕ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РАВНЫЕ ПРАВА И ОБЯЗАННОСТИ ИСПОЛНИТЕЛЕЙ (</a:t>
            </a:r>
            <a:r>
              <a:rPr lang="ru-RU" sz="1400" dirty="0" smtClean="0">
                <a:solidFill>
                  <a:srgbClr val="002060"/>
                </a:solidFill>
                <a:latin typeface="Arial Narrow" pitchFamily="34" charset="0"/>
              </a:rPr>
              <a:t>ГОСУДАРСТВЕННЫЕ, ЧАСТНЫЕ, ВЕДОМСТВЕННЫЕ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РАСШИРЕННЫЕ ПОЛНОМОЧИЯ РЕГИОНА ПО ОРГАНИЗАЦИИ МЕДИЦИНСКОЙ ПОМОЩИ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ПРИОРИТЕТНЫЕ ПРАВА ПАЦИЕНТА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НАЛИЧИЕ КОНКУРЕНЦИИ НА РЫНКЕ МЕДИЦИНСКИХ СТРАХОВАТЕЛЕЙ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ОТКРЫТОСТЬ РАБОТЫ МЕДИЦИНСКИХ УЧРЕЖДЕНИЙ И СПЕЦИАЛИСТОВ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РАСШИРЕНИЕ ПОЛНОМОЧИЙ ОБЩЕСТВЕННЫХ ИНСТИТУТОВ САМОУПРАВЛЕНИЯ (АССОЦИАЦИЯ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НЕПРЕРЫВНОЕ ОБРАЗОВАНИЕ ВРАЧА И ЗАВИСИМОСТЬ ОПЛАТЫ ОТ ЕГО РЕЗУЛЬТАТИВНОСТИ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ОБЯЗАТЕЛЬНОЕ ПРОФЕССИОНАЛЬНОЕ СТРАХОВАНИЕ ВРАЧА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ОБЯЗАТЕЛЬНОЕ ЧЛЕНСТВО ВРАЧА В ОБЩЕСТВЕННОМ ИНСТИТУТЕ (АССОЦИАЦИЯ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РЕГИОНАЛЬНАЯ МИС. РЕГИОНАЛЬНЫЙ ЦОД. ЕДИНАЯ МЕДИЦИНСКАЯ КАРТА ПАЦИЕНТА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СОЗДАНИЕ МЕЖРЕГИОНАЛЬНЫХ ЦЕНТРОВ для ПФО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РАЗВИТИЕ ИННОВАЦИОННЫХ ПРОЕКТОВ И ИМПОРТЗАМЕЩАЮЩИХ ТЕХНОЛОГИЙ И ПРОИЗВОДСТ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504" y="395372"/>
            <a:ext cx="892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u="sng" dirty="0" smtClean="0">
                <a:solidFill>
                  <a:srgbClr val="002060"/>
                </a:solidFill>
              </a:rPr>
              <a:t>ПРИНЦИПЫ РЕФОРМИРОВАНИЯ СИСТЕМЫ ЗДРАВООХРАНЕНИЯ РЕСПУБЛИКИ ТАТАРСТАН </a:t>
            </a:r>
            <a:endParaRPr lang="ru-RU" u="sng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528" y="18864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80690" y="18864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7478" y="16939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04640" y="169390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81052" y="150139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138214" y="150139"/>
            <a:ext cx="1368152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2060"/>
                </a:solidFill>
              </a:rPr>
              <a:t>www.minzdrav.tatarstan.ru</a:t>
            </a:r>
            <a:endParaRPr lang="ru-RU" sz="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11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03648" y="476672"/>
            <a:ext cx="69847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МЕНЬШИМИ РЕСУРСАМИ – БОЛЬШИЙ ОБЪЕМ РАБОТ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4" name="Object 19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7570486"/>
              </p:ext>
            </p:extLst>
          </p:nvPr>
        </p:nvGraphicFramePr>
        <p:xfrm>
          <a:off x="323528" y="3357390"/>
          <a:ext cx="1947008" cy="302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6" name="AutoShape 7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750393" y="4009256"/>
            <a:ext cx="11869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7" name="Rectangle 1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1682" y="3100214"/>
            <a:ext cx="578826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/>
            <a:r>
              <a:rPr lang="ru-RU" sz="1000"/>
              <a:t>на тыс. </a:t>
            </a:r>
          </a:p>
          <a:p>
            <a:pPr algn="l"/>
            <a:r>
              <a:rPr lang="ru-RU" sz="1000"/>
              <a:t>населения</a:t>
            </a:r>
          </a:p>
        </p:txBody>
      </p:sp>
      <p:sp>
        <p:nvSpPr>
          <p:cNvPr id="8" name="Rectangle 7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84764" y="4005064"/>
            <a:ext cx="225669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000" dirty="0" smtClean="0">
                <a:solidFill>
                  <a:srgbClr val="C00000"/>
                </a:solidFill>
              </a:rPr>
              <a:t>12.8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9" name="Rectangle 3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68177" y="6294264"/>
            <a:ext cx="278160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FC1734FB-45B1-4777-9D25-381CAE5E14A5}" type="datetime'''''2''0''''''''''''''''''''''''1''''''''''''''''''0'''">
              <a:rPr lang="ru-RU" sz="800"/>
              <a:pPr/>
              <a:t>2010</a:t>
            </a:fld>
            <a:endParaRPr lang="ru-RU" sz="800" dirty="0"/>
          </a:p>
        </p:txBody>
      </p:sp>
      <p:sp>
        <p:nvSpPr>
          <p:cNvPr id="10" name="Rectangle 7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43266" y="3817516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9</a:t>
            </a:r>
            <a:endParaRPr lang="ru-RU" sz="1000" dirty="0"/>
          </a:p>
        </p:txBody>
      </p:sp>
      <p:sp>
        <p:nvSpPr>
          <p:cNvPr id="11" name="Rectangle 3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04407" y="6294264"/>
            <a:ext cx="325905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B9710B49-876B-450B-AC03-3A28D823DA74}" type="datetime'''''''''2''''0''''0''''''''''''''''''''''''''''''''9'''''''''">
              <a:rPr lang="ru-RU" sz="800"/>
              <a:pPr/>
              <a:t>2009</a:t>
            </a:fld>
            <a:endParaRPr lang="ru-RU" sz="800" dirty="0"/>
          </a:p>
        </p:txBody>
      </p:sp>
      <p:sp>
        <p:nvSpPr>
          <p:cNvPr id="12" name="Rectangle 7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79497" y="4071764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FAEDB43C-2060-4AE1-B9E1-587AD5F8781F}" type="datetime'1''''''''''2''''''''''''''''''''.''''''''4'''''''''''''">
              <a:rPr lang="ru-RU" sz="1000"/>
              <a:pPr/>
              <a:t>12.4</a:t>
            </a:fld>
            <a:endParaRPr lang="ru-RU" sz="1000"/>
          </a:p>
        </p:txBody>
      </p:sp>
      <p:sp>
        <p:nvSpPr>
          <p:cNvPr id="13" name="Rectangle 3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440639" y="6294264"/>
            <a:ext cx="229634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90161CC-E345-48DF-866B-596F6FE41507}" type="datetime'''''2''''''0''''''''08'''''''">
              <a:rPr lang="ru-RU" sz="800"/>
              <a:pPr/>
              <a:t>2008</a:t>
            </a:fld>
            <a:endParaRPr lang="ru-RU" sz="800" dirty="0"/>
          </a:p>
        </p:txBody>
      </p:sp>
      <p:sp>
        <p:nvSpPr>
          <p:cNvPr id="14" name="Rectangle 6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415728" y="4338464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1BFCDAE3-1289-43DE-8C1E-B51461297A1D}" type="datetime'''''1''''''''''''''''''''''1''''''''.''''8'''">
              <a:rPr lang="ru-RU" sz="1000"/>
              <a:pPr/>
              <a:t>11.8</a:t>
            </a:fld>
            <a:endParaRPr lang="ru-RU" sz="1000"/>
          </a:p>
        </p:txBody>
      </p:sp>
      <p:sp>
        <p:nvSpPr>
          <p:cNvPr id="15" name="Rectangle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66217" y="6294264"/>
            <a:ext cx="288032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829C785D-5744-42C4-8D34-40C179923470}" type="datetime'''''''''''''2''''''''''''''''''''0''''''''0''''''''''7'''''">
              <a:rPr lang="ru-RU" sz="800"/>
              <a:pPr/>
              <a:t>2007</a:t>
            </a:fld>
            <a:endParaRPr lang="ru-RU" sz="800" dirty="0"/>
          </a:p>
        </p:txBody>
      </p:sp>
      <p:sp>
        <p:nvSpPr>
          <p:cNvPr id="16" name="Rectangle 6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47562" y="4738514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9F041A90-6B9B-409E-A478-75DCF9C54F7F}" type="datetime'''''''''''''1''''''''''''''''''0.''''''''9'''''''''''''''">
              <a:rPr lang="ru-RU" sz="1000"/>
              <a:pPr/>
              <a:t>10.9</a:t>
            </a:fld>
            <a:endParaRPr lang="ru-RU" sz="1000"/>
          </a:p>
        </p:txBody>
      </p:sp>
      <p:sp>
        <p:nvSpPr>
          <p:cNvPr id="17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04307" y="6294264"/>
            <a:ext cx="261909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562831D-52D9-45FF-9E29-0918367C6B8F}" type="datetime'''''''2''''''''''''0''''''''''''''0''''''6'''''''''''''''">
              <a:rPr lang="ru-RU" sz="800"/>
              <a:pPr/>
              <a:t>2006</a:t>
            </a:fld>
            <a:endParaRPr lang="ru-RU" sz="800"/>
          </a:p>
        </p:txBody>
      </p:sp>
      <p:sp>
        <p:nvSpPr>
          <p:cNvPr id="18" name="Rectangle 6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11635" y="5176664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96708E77-7F31-446B-9B6D-8F86F782FA84}" type="datetime'''''''''9''''''''.''''''''''9'''''''''''''''''''''''''''''''">
              <a:rPr lang="ru-RU" sz="1000"/>
              <a:pPr/>
              <a:t>9.9</a:t>
            </a:fld>
            <a:endParaRPr lang="ru-RU" sz="1000"/>
          </a:p>
        </p:txBody>
      </p:sp>
      <p:sp>
        <p:nvSpPr>
          <p:cNvPr id="19" name="Rectangle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40539" y="6294264"/>
            <a:ext cx="309654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0339734A-23FB-4E05-8C91-E99056DBE60F}" type="datetime'''''''''''''2''''0''''0''''''''''''5'''">
              <a:rPr lang="ru-RU" sz="800"/>
              <a:pPr/>
              <a:t>2005</a:t>
            </a:fld>
            <a:endParaRPr lang="ru-RU" sz="800" dirty="0"/>
          </a:p>
        </p:txBody>
      </p:sp>
      <p:sp>
        <p:nvSpPr>
          <p:cNvPr id="20" name="Rectangle 6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47866" y="5224289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2751B387-185D-4931-972E-943AC1226152}" type="datetime'''''''''''9''''''.''''''''''''''8'''''''''''''">
              <a:rPr lang="ru-RU" sz="1000"/>
              <a:pPr/>
              <a:t>9.8</a:t>
            </a:fld>
            <a:endParaRPr lang="ru-RU" sz="1000"/>
          </a:p>
        </p:txBody>
      </p:sp>
      <p:graphicFrame>
        <p:nvGraphicFramePr>
          <p:cNvPr id="21" name="Object 92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35069650"/>
              </p:ext>
            </p:extLst>
          </p:nvPr>
        </p:nvGraphicFramePr>
        <p:xfrm>
          <a:off x="3320239" y="3357390"/>
          <a:ext cx="1947008" cy="302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22" name="Rectangle 9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964889" y="6337796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DFAD0D2E-EF64-4688-9D19-E22D18CCB517}" type="datetime'''2''''''''''''0''''''''''''1''''''''0'''''''">
              <a:rPr lang="ru-RU" sz="800"/>
              <a:pPr/>
              <a:t>2010</a:t>
            </a:fld>
            <a:endParaRPr lang="ru-RU" sz="800" dirty="0"/>
          </a:p>
        </p:txBody>
      </p:sp>
      <p:sp>
        <p:nvSpPr>
          <p:cNvPr id="23" name="Rectangle 9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266983" y="5562135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4,9</a:t>
            </a:r>
            <a:endParaRPr lang="ru-RU" sz="1000" dirty="0"/>
          </a:p>
        </p:txBody>
      </p:sp>
      <p:sp>
        <p:nvSpPr>
          <p:cNvPr id="24" name="Rectangle 9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701120" y="6337796"/>
            <a:ext cx="281521" cy="216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CA5D27F-05FE-435B-8C0B-DFB0E620B4A2}" type="datetime'''''''''2''''''''''0''''''''''0''''''''''''''''''9'">
              <a:rPr lang="ru-RU" sz="800"/>
              <a:pPr/>
              <a:t>2009</a:t>
            </a:fld>
            <a:endParaRPr lang="ru-RU" sz="800" dirty="0"/>
          </a:p>
        </p:txBody>
      </p:sp>
      <p:sp>
        <p:nvSpPr>
          <p:cNvPr id="25" name="Rectangle 10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774556" y="5176664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BB600784-8382-4F8B-A4C6-24F96B130D69}" type="datetime'5''''''''''''''''''''''''.''''''''''''''''''''''9'''''''''''''">
              <a:rPr lang="ru-RU" sz="1000"/>
              <a:pPr/>
              <a:t>5.9</a:t>
            </a:fld>
            <a:endParaRPr lang="ru-RU" sz="1000" dirty="0"/>
          </a:p>
        </p:txBody>
      </p:sp>
      <p:sp>
        <p:nvSpPr>
          <p:cNvPr id="26" name="Rectangle 10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406577" y="6337796"/>
            <a:ext cx="257258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4958083C-0AFF-411C-A8DB-1D9D9AD69463}" type="datetime'''''''2''''''''''''''''''''0''08'''''''''''''''''''">
              <a:rPr lang="ru-RU" sz="800"/>
              <a:pPr/>
              <a:t>2008</a:t>
            </a:fld>
            <a:endParaRPr lang="ru-RU" sz="800" dirty="0"/>
          </a:p>
        </p:txBody>
      </p:sp>
      <p:sp>
        <p:nvSpPr>
          <p:cNvPr id="27" name="Rectangle 10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478585" y="5129039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26BA8D34-E99F-4F88-9177-D6DC9727E501}" type="datetime'''''''''''''6''''''.''''0'''''''''''">
              <a:rPr lang="ru-RU" sz="1000"/>
              <a:pPr/>
              <a:t>6.0</a:t>
            </a:fld>
            <a:endParaRPr lang="ru-RU" sz="1000" dirty="0"/>
          </a:p>
        </p:txBody>
      </p:sp>
      <p:sp>
        <p:nvSpPr>
          <p:cNvPr id="28" name="Rectangle 10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169185" y="6337796"/>
            <a:ext cx="237392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254E5077-489F-429A-A50F-124DF519AD0C}" type="datetime'''''''''''''''''''''''''''''''''''''''''''''''''''''2''0''07'">
              <a:rPr lang="ru-RU" sz="800"/>
              <a:pPr/>
              <a:t>2007</a:t>
            </a:fld>
            <a:endParaRPr lang="ru-RU" sz="800" dirty="0"/>
          </a:p>
        </p:txBody>
      </p:sp>
      <p:sp>
        <p:nvSpPr>
          <p:cNvPr id="29" name="Rectangle 104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262561" y="4338464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80F5568E-09E9-4D3F-BAEB-3D1067691048}" type="datetime'''''7''.''''''''''''''''''''''''''''''''''''''''''8'''''">
              <a:rPr lang="ru-RU" sz="1000"/>
              <a:pPr/>
              <a:t>7.8</a:t>
            </a:fld>
            <a:endParaRPr lang="ru-RU" sz="1000" dirty="0"/>
          </a:p>
        </p:txBody>
      </p:sp>
      <p:sp>
        <p:nvSpPr>
          <p:cNvPr id="30" name="Rectangle 105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901019" y="6337796"/>
            <a:ext cx="289533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E1663A15-F4EC-4FCB-A4BB-B35B5CC670E9}" type="datetime'2''''''0''''''0''''''''6'''''''''''''''''''''''''">
              <a:rPr lang="ru-RU" sz="800"/>
              <a:pPr/>
              <a:t>2006</a:t>
            </a:fld>
            <a:endParaRPr lang="ru-RU" sz="800" dirty="0"/>
          </a:p>
        </p:txBody>
      </p:sp>
      <p:sp>
        <p:nvSpPr>
          <p:cNvPr id="31" name="Rectangle 106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974529" y="4157489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17A78182-C33D-49BD-AECF-817860575B7B}" type="datetime'''''''''''''''''''8''''''''''''.''''''''''''''''''2'''''''">
              <a:rPr lang="ru-RU" sz="1000"/>
              <a:pPr/>
              <a:t>8.2</a:t>
            </a:fld>
            <a:endParaRPr lang="ru-RU" sz="1000" dirty="0"/>
          </a:p>
        </p:txBody>
      </p:sp>
      <p:sp>
        <p:nvSpPr>
          <p:cNvPr id="32" name="Rectangle 10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614489" y="6337796"/>
            <a:ext cx="360040" cy="259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8EF9198B-BAC6-457D-97EF-5B96FC5EDBC2}" type="datetime'''''''''''2''''''''''''''''''''''''''0''0''5'''''''''''''''">
              <a:rPr lang="ru-RU" sz="800"/>
              <a:pPr/>
              <a:t>2005</a:t>
            </a:fld>
            <a:endParaRPr lang="ru-RU" sz="800" dirty="0"/>
          </a:p>
        </p:txBody>
      </p:sp>
      <p:sp>
        <p:nvSpPr>
          <p:cNvPr id="33" name="Rectangle 108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686497" y="4252739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A4063932-B47E-4A8A-8047-9D49CB9EDBEF}" type="datetime'''''''''8''''''''''''''''''''''''''.''''''0'''''''''''''''">
              <a:rPr lang="ru-RU" sz="1000"/>
              <a:pPr/>
              <a:t>8.0</a:t>
            </a:fld>
            <a:endParaRPr lang="ru-RU" sz="1000" dirty="0"/>
          </a:p>
        </p:txBody>
      </p:sp>
      <p:sp>
        <p:nvSpPr>
          <p:cNvPr id="34" name="Rectangle 9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398393" y="3100214"/>
            <a:ext cx="57882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/>
            <a:r>
              <a:rPr lang="ru-RU" sz="1000"/>
              <a:t>на тыс. </a:t>
            </a:r>
          </a:p>
          <a:p>
            <a:pPr algn="l"/>
            <a:r>
              <a:rPr lang="ru-RU" sz="1000"/>
              <a:t>населения</a:t>
            </a:r>
          </a:p>
        </p:txBody>
      </p:sp>
      <p:graphicFrame>
        <p:nvGraphicFramePr>
          <p:cNvPr id="35" name="Object 138"/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148328726"/>
              </p:ext>
            </p:extLst>
          </p:nvPr>
        </p:nvGraphicFramePr>
        <p:xfrm>
          <a:off x="6330139" y="3357390"/>
          <a:ext cx="1947008" cy="302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36" name="AutoShape 140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10800000">
            <a:off x="8409273" y="4437112"/>
            <a:ext cx="118696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37" name="Line 139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 flipH="1" flipV="1">
            <a:off x="6631030" y="4513312"/>
            <a:ext cx="1789347" cy="770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38" name="Rectangle 142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408293" y="3100214"/>
            <a:ext cx="57882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/>
            <a:r>
              <a:rPr lang="ru-RU" sz="1000"/>
              <a:t>на тыс. </a:t>
            </a:r>
          </a:p>
          <a:p>
            <a:pPr algn="l"/>
            <a:r>
              <a:rPr lang="ru-RU" sz="1000"/>
              <a:t>населения</a:t>
            </a:r>
          </a:p>
        </p:txBody>
      </p:sp>
      <p:sp>
        <p:nvSpPr>
          <p:cNvPr id="39" name="Rectangle 144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573396" y="4437112"/>
            <a:ext cx="225669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/>
            <a:r>
              <a:rPr lang="ru-RU" sz="1000" dirty="0" smtClean="0">
                <a:solidFill>
                  <a:srgbClr val="C00000"/>
                </a:solidFill>
              </a:rPr>
              <a:t>13,8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40" name="Rectangle 145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7974789" y="6294264"/>
            <a:ext cx="320220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3DC1D245-3F1D-4BE3-8C9C-4F9CE8C0D595}" type="datetime'''''''''2''''''''''''''''''''''''''''01''''0'''''''''''''''''">
              <a:rPr lang="ru-RU" sz="800"/>
              <a:pPr/>
              <a:t>2010</a:t>
            </a:fld>
            <a:endParaRPr lang="ru-RU" sz="800" dirty="0"/>
          </a:p>
        </p:txBody>
      </p:sp>
      <p:sp>
        <p:nvSpPr>
          <p:cNvPr id="41" name="Rectangle 146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8022447" y="4817244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7</a:t>
            </a:r>
            <a:endParaRPr lang="ru-RU" sz="1000" dirty="0"/>
          </a:p>
        </p:txBody>
      </p:sp>
      <p:sp>
        <p:nvSpPr>
          <p:cNvPr id="42" name="Rectangle 147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7711019" y="6294264"/>
            <a:ext cx="295957" cy="11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A1E97C0B-30CE-4039-A59A-B527AEEBAEDF}" type="datetime'''''''''''''''''2''''''''0''''09'''''''''''''''''''''''''">
              <a:rPr lang="ru-RU" sz="800"/>
              <a:pPr/>
              <a:t>2009</a:t>
            </a:fld>
            <a:endParaRPr lang="ru-RU" sz="800" dirty="0"/>
          </a:p>
        </p:txBody>
      </p:sp>
      <p:sp>
        <p:nvSpPr>
          <p:cNvPr id="43" name="Rectangle 148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718945" y="4824239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49436826-466C-46E6-B4AD-FC2FA0E27E36}" type="datetime'''''''''1''''2''''''''''''''''''''.''''''7'''''''''''''''">
              <a:rPr lang="ru-RU" sz="1000"/>
              <a:pPr/>
              <a:t>12.7</a:t>
            </a:fld>
            <a:endParaRPr lang="ru-RU" sz="1000" dirty="0"/>
          </a:p>
        </p:txBody>
      </p:sp>
      <p:sp>
        <p:nvSpPr>
          <p:cNvPr id="44" name="Rectangle 149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7447251" y="6331098"/>
            <a:ext cx="27169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F80530F3-084D-4F62-ACD0-8AD0E33F1054}" type="datetime'''''''2''''''''''''''''''''''''''0''''''''''0''8'''''''''''">
              <a:rPr lang="ru-RU" sz="800"/>
              <a:pPr/>
              <a:t>2008</a:t>
            </a:fld>
            <a:endParaRPr lang="ru-RU" sz="800" dirty="0"/>
          </a:p>
        </p:txBody>
      </p:sp>
      <p:sp>
        <p:nvSpPr>
          <p:cNvPr id="45" name="Rectangle 151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7179085" y="6331098"/>
            <a:ext cx="323836" cy="150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52D4F3F7-CD7B-4C54-A6BA-30DE5E8FDE29}" type="datetime'''''''''''''2''''''0''''''''0''''''''''''''''7'''''''''''''''">
              <a:rPr lang="ru-RU" sz="800"/>
              <a:pPr/>
              <a:t>2007</a:t>
            </a:fld>
            <a:endParaRPr lang="ru-RU" sz="800" dirty="0"/>
          </a:p>
        </p:txBody>
      </p:sp>
      <p:sp>
        <p:nvSpPr>
          <p:cNvPr id="46" name="Rectangle 152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7302367" y="4690889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3</a:t>
            </a:r>
            <a:endParaRPr lang="ru-RU" sz="1000" dirty="0"/>
          </a:p>
        </p:txBody>
      </p:sp>
      <p:sp>
        <p:nvSpPr>
          <p:cNvPr id="47" name="Rectangle 153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6910919" y="6337796"/>
            <a:ext cx="303969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6777868A-E7F6-4FE8-893E-86BE302EB725}" type="datetime'''''''''''''2''''0''''''''''''0''''''''''''''''''''''6'''">
              <a:rPr lang="ru-RU" sz="800"/>
              <a:pPr/>
              <a:t>2006</a:t>
            </a:fld>
            <a:endParaRPr lang="ru-RU" sz="800" dirty="0"/>
          </a:p>
        </p:txBody>
      </p:sp>
      <p:sp>
        <p:nvSpPr>
          <p:cNvPr id="48" name="Rectangle 154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998865" y="4673228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047DC85E-021D-4C2D-B2AB-C88309FDC844}" type="datetime'1''''''''''''''''''''3''''''.''''''''''''''1'">
              <a:rPr lang="ru-RU" sz="1000"/>
              <a:pPr/>
              <a:t>13.1</a:t>
            </a:fld>
            <a:endParaRPr lang="ru-RU" sz="1000" dirty="0"/>
          </a:p>
        </p:txBody>
      </p:sp>
      <p:sp>
        <p:nvSpPr>
          <p:cNvPr id="49" name="Rectangle 155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6623785" y="6337796"/>
            <a:ext cx="303072" cy="187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fld id="{7B345605-DDBA-4D2A-8D8F-384616ABE272}" type="datetime'2''''''''0''''''''''''''''''''''''''''0''''5'''''''''">
              <a:rPr lang="ru-RU" sz="800"/>
              <a:pPr/>
              <a:t>2005</a:t>
            </a:fld>
            <a:endParaRPr lang="ru-RU" sz="800" dirty="0"/>
          </a:p>
        </p:txBody>
      </p:sp>
      <p:sp>
        <p:nvSpPr>
          <p:cNvPr id="50" name="Rectangle 156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6710833" y="4338464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fld id="{76BFAF85-BB3E-4D51-812E-F9E6D284E779}" type="datetime'''1''''''''''''3''''''''''''''''''.''''''''''''''''''''''8'">
              <a:rPr lang="ru-RU" sz="1000"/>
              <a:pPr/>
              <a:t>13.8</a:t>
            </a:fld>
            <a:endParaRPr lang="ru-RU" sz="1000" dirty="0"/>
          </a:p>
        </p:txBody>
      </p:sp>
      <p:sp>
        <p:nvSpPr>
          <p:cNvPr id="51" name="Rectangle 152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7506762" y="4690889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3</a:t>
            </a:r>
            <a:endParaRPr lang="ru-RU" sz="1000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5270673" y="5761732"/>
            <a:ext cx="144016" cy="4320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 97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5255345" y="6348554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1</a:t>
            </a:r>
            <a:endParaRPr lang="ru-RU" sz="800" dirty="0"/>
          </a:p>
        </p:txBody>
      </p:sp>
      <p:sp>
        <p:nvSpPr>
          <p:cNvPr id="54" name="Rectangle 98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5019557" y="5422286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5,3</a:t>
            </a:r>
            <a:endParaRPr lang="ru-RU" sz="10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2246337" y="3889524"/>
            <a:ext cx="164094" cy="230425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Rectangle 73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2462361" y="3097436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4,5</a:t>
            </a:r>
            <a:endParaRPr lang="ru-RU" sz="1000" dirty="0"/>
          </a:p>
        </p:txBody>
      </p:sp>
      <p:sp>
        <p:nvSpPr>
          <p:cNvPr id="57" name="Rectangle 97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2232447" y="6305524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1</a:t>
            </a:r>
            <a:endParaRPr lang="ru-RU" sz="800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8354822" y="5113660"/>
            <a:ext cx="156211" cy="109087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Rectangle 146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8295009" y="4897636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4</a:t>
            </a:r>
            <a:endParaRPr lang="ru-RU" sz="1000" dirty="0"/>
          </a:p>
        </p:txBody>
      </p:sp>
      <p:sp>
        <p:nvSpPr>
          <p:cNvPr id="60" name="Rectangle 97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8267486" y="6316281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1</a:t>
            </a:r>
            <a:endParaRPr lang="ru-RU" sz="800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2495719" y="3313460"/>
            <a:ext cx="182666" cy="288787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Rectangle 73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2190485" y="3679600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3,4</a:t>
            </a:r>
            <a:endParaRPr lang="ru-RU" sz="1000" dirty="0"/>
          </a:p>
        </p:txBody>
      </p:sp>
      <p:sp>
        <p:nvSpPr>
          <p:cNvPr id="63" name="Rectangle 97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2466714" y="6305524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2</a:t>
            </a:r>
            <a:endParaRPr lang="ru-RU" sz="800" dirty="0"/>
          </a:p>
        </p:txBody>
      </p:sp>
      <p:sp>
        <p:nvSpPr>
          <p:cNvPr id="64" name="Прямоугольник 63"/>
          <p:cNvSpPr/>
          <p:nvPr/>
        </p:nvSpPr>
        <p:spPr>
          <a:xfrm>
            <a:off x="8596648" y="5257676"/>
            <a:ext cx="130409" cy="9361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Rectangle 97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8539539" y="6316281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2</a:t>
            </a:r>
            <a:endParaRPr lang="ru-RU" sz="800" dirty="0"/>
          </a:p>
        </p:txBody>
      </p:sp>
      <p:sp>
        <p:nvSpPr>
          <p:cNvPr id="66" name="Rectangle 146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8583041" y="5041652"/>
            <a:ext cx="2725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12,2</a:t>
            </a:r>
            <a:endParaRPr lang="ru-RU" sz="1000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5508103" y="5373216"/>
            <a:ext cx="144017" cy="83158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Rectangle 102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5508104" y="5157192"/>
            <a:ext cx="20808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b"/>
          <a:lstStyle/>
          <a:p>
            <a:r>
              <a:rPr lang="ru-RU" sz="1000" dirty="0" smtClean="0"/>
              <a:t>6,4</a:t>
            </a:r>
            <a:endParaRPr lang="ru-RU" sz="1000" dirty="0"/>
          </a:p>
        </p:txBody>
      </p:sp>
      <p:sp>
        <p:nvSpPr>
          <p:cNvPr id="69" name="Line 93"/>
          <p:cNvSpPr>
            <a:spLocks noChangeShapeType="1"/>
          </p:cNvSpPr>
          <p:nvPr>
            <p:custDataLst>
              <p:tags r:id="rId59"/>
            </p:custDataLst>
          </p:nvPr>
        </p:nvSpPr>
        <p:spPr bwMode="gray">
          <a:xfrm flipH="1">
            <a:off x="3621131" y="4106230"/>
            <a:ext cx="1689589" cy="0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70" name="AutoShape 94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 rot="10800000">
            <a:off x="5315010" y="4025155"/>
            <a:ext cx="11869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tIns="91440" bIns="91440" anchor="ctr"/>
          <a:lstStyle/>
          <a:p>
            <a:endParaRPr lang="ru-RU">
              <a:solidFill>
                <a:srgbClr val="C00000"/>
              </a:solidFill>
            </a:endParaRPr>
          </a:p>
        </p:txBody>
      </p:sp>
      <p:sp>
        <p:nvSpPr>
          <p:cNvPr id="71" name="Rectangle 97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5596868" y="6337537"/>
            <a:ext cx="305784" cy="78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ru-RU" sz="800" dirty="0" smtClean="0"/>
              <a:t>2012</a:t>
            </a:r>
            <a:endParaRPr lang="ru-RU" sz="800" dirty="0"/>
          </a:p>
        </p:txBody>
      </p:sp>
      <p:sp>
        <p:nvSpPr>
          <p:cNvPr id="72" name="TextBox 71"/>
          <p:cNvSpPr txBox="1"/>
          <p:nvPr/>
        </p:nvSpPr>
        <p:spPr>
          <a:xfrm>
            <a:off x="5486697" y="396153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C00000"/>
                </a:solidFill>
              </a:rPr>
              <a:t>8,7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67544" y="2791961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Arial Narrow" pitchFamily="34" charset="0"/>
              </a:rPr>
              <a:t>Рождаемость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851920" y="2875002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Arial Narrow" pitchFamily="34" charset="0"/>
              </a:rPr>
              <a:t>Младенческая смертность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7092280" y="2935977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Arial Narrow" pitchFamily="34" charset="0"/>
              </a:rPr>
              <a:t>Общая смертность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graphicFrame>
        <p:nvGraphicFramePr>
          <p:cNvPr id="76" name="Диаграмма 75"/>
          <p:cNvGraphicFramePr/>
          <p:nvPr>
            <p:extLst>
              <p:ext uri="{D42A27DB-BD31-4B8C-83A1-F6EECF244321}">
                <p14:modId xmlns:p14="http://schemas.microsoft.com/office/powerpoint/2010/main" val="874083876"/>
              </p:ext>
            </p:extLst>
          </p:nvPr>
        </p:nvGraphicFramePr>
        <p:xfrm>
          <a:off x="4932040" y="1124744"/>
          <a:ext cx="4104456" cy="1728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5419596" y="980728"/>
            <a:ext cx="37237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Arial Narrow" pitchFamily="34" charset="0"/>
              </a:rPr>
              <a:t>Коэффициент естественного прироста 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940152" y="126876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 Narrow" pitchFamily="34" charset="0"/>
              </a:rPr>
              <a:t>РФ  - 0</a:t>
            </a:r>
          </a:p>
          <a:p>
            <a:r>
              <a:rPr lang="ru-RU" sz="1200" dirty="0" smtClean="0">
                <a:latin typeface="Arial Narrow" pitchFamily="34" charset="0"/>
              </a:rPr>
              <a:t>РТ - + 2.3</a:t>
            </a:r>
            <a:endParaRPr lang="ru-RU" sz="1200" dirty="0">
              <a:latin typeface="Arial Narrow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23528" y="980728"/>
            <a:ext cx="410445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Основные показатели деятельности системы здравоохранения РТ являются одними из лучших в РФ</a:t>
            </a:r>
          </a:p>
          <a:p>
            <a:endParaRPr lang="ru-RU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Дальнейшее повышение эффективности ( качество- производительность) системы здравоохранения РТ связана с использование современных технологий и повышением производительности труда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5" name="Line 78"/>
          <p:cNvSpPr>
            <a:spLocks noChangeShapeType="1"/>
          </p:cNvSpPr>
          <p:nvPr>
            <p:custDataLst>
              <p:tags r:id="rId62"/>
            </p:custDataLst>
          </p:nvPr>
        </p:nvSpPr>
        <p:spPr bwMode="gray">
          <a:xfrm flipH="1" flipV="1">
            <a:off x="624418" y="4081264"/>
            <a:ext cx="2185322" cy="4192"/>
          </a:xfrm>
          <a:prstGeom prst="line">
            <a:avLst/>
          </a:prstGeom>
          <a:noFill/>
          <a:ln w="19050">
            <a:solidFill>
              <a:srgbClr val="C00000"/>
            </a:solidFill>
            <a:prstDash val="lg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86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27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-1588" y="0"/>
            <a:ext cx="9144001" cy="404813"/>
          </a:xfrm>
          <a:prstGeom prst="rect">
            <a:avLst/>
          </a:prstGeom>
          <a:noFill/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1200" b="1" dirty="0" smtClean="0">
              <a:solidFill>
                <a:schemeClr val="tx2"/>
              </a:solidFill>
              <a:latin typeface="Arial Black" pitchFamily="34" charset="0"/>
              <a:ea typeface="+mn-ea"/>
              <a:cs typeface="Aparajita" pitchFamily="34" charset="0"/>
            </a:endParaRPr>
          </a:p>
        </p:txBody>
      </p:sp>
      <p:pic>
        <p:nvPicPr>
          <p:cNvPr id="2" name="Picture 4" descr="Карттат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6" y="1419912"/>
            <a:ext cx="7488832" cy="494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вал 2"/>
          <p:cNvSpPr/>
          <p:nvPr/>
        </p:nvSpPr>
        <p:spPr>
          <a:xfrm rot="20819604">
            <a:off x="529672" y="1343538"/>
            <a:ext cx="5111252" cy="4031393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/>
          <p:cNvSpPr/>
          <p:nvPr/>
        </p:nvSpPr>
        <p:spPr>
          <a:xfrm>
            <a:off x="5364088" y="1196752"/>
            <a:ext cx="3384376" cy="3240360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/>
          <p:cNvSpPr/>
          <p:nvPr/>
        </p:nvSpPr>
        <p:spPr>
          <a:xfrm>
            <a:off x="4427984" y="4077072"/>
            <a:ext cx="3888432" cy="2160240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5-конечная звезда 5"/>
          <p:cNvSpPr/>
          <p:nvPr/>
        </p:nvSpPr>
        <p:spPr>
          <a:xfrm>
            <a:off x="2195736" y="2852936"/>
            <a:ext cx="576064" cy="432048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5-конечная звезда 6"/>
          <p:cNvSpPr/>
          <p:nvPr/>
        </p:nvSpPr>
        <p:spPr>
          <a:xfrm>
            <a:off x="5652120" y="3068960"/>
            <a:ext cx="576064" cy="432048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5-конечная звезда 7"/>
          <p:cNvSpPr/>
          <p:nvPr/>
        </p:nvSpPr>
        <p:spPr>
          <a:xfrm>
            <a:off x="5652120" y="4437112"/>
            <a:ext cx="576064" cy="432048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-1588" y="476672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Организация трех зон ВМП с равными возможностями</a:t>
            </a:r>
            <a:endParaRPr lang="ru-RU" sz="2400" cap="all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1579" y="3501008"/>
            <a:ext cx="9182949" cy="83099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4800" b="1" spc="50" dirty="0" smtClean="0">
                <a:ln w="11430"/>
                <a:solidFill>
                  <a:schemeClr val="tx1">
                    <a:lumMod val="50000"/>
                    <a:lumOff val="50000"/>
                  </a:schemeClr>
                </a:solidFill>
              </a:rPr>
              <a:t>КОНЦЕНТРАЦИЯ РЕСУРСОВ</a:t>
            </a:r>
            <a:endParaRPr lang="ru-RU" sz="4800" b="1" spc="50" dirty="0">
              <a:ln w="11430"/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5536" y="5106089"/>
            <a:ext cx="6577001" cy="64633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ru-RU" sz="3600" b="1" spc="50" dirty="0" smtClean="0">
                <a:ln w="11430"/>
                <a:solidFill>
                  <a:schemeClr val="tx1">
                    <a:lumMod val="50000"/>
                    <a:lumOff val="50000"/>
                  </a:schemeClr>
                </a:solidFill>
              </a:rPr>
              <a:t>ДОСТУПНОСТЬ 90 минут</a:t>
            </a:r>
            <a:endParaRPr lang="ru-RU" sz="3600" b="1" spc="50" dirty="0">
              <a:ln w="11430"/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0" y="0"/>
            <a:ext cx="9144000" cy="3333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ООХРАНЕНИЕ РЕСПУБЛИКИ ТАТАРСТАН -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3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flipH="1">
            <a:off x="253455" y="1700808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1.8 млн.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 flipH="1">
            <a:off x="7393940" y="1772816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1.2 млн.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 flipH="1">
            <a:off x="7271320" y="5229200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0</a:t>
            </a:r>
            <a:r>
              <a:rPr lang="ru-RU" b="1" dirty="0" smtClean="0">
                <a:solidFill>
                  <a:srgbClr val="C00000"/>
                </a:solidFill>
              </a:rPr>
              <a:t>.8 млн.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475656" y="4653136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2042433" y="2763880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3055074" y="2476713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4158400" y="3776521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5223940" y="3307985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6349937" y="5227469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539552" y="6093296"/>
            <a:ext cx="73448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498380"/>
                </a:solidFill>
              </a:rPr>
              <a:t>15    межмуниципальных сосудистых центров</a:t>
            </a:r>
            <a:endParaRPr lang="ru-RU" sz="2000" dirty="0">
              <a:solidFill>
                <a:srgbClr val="4983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5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500"/>
                            </p:stCondLst>
                            <p:childTnLst>
                              <p:par>
                                <p:cTn id="38" presetID="2" presetClass="entr" presetSubtype="4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12" grpId="0"/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xXuGv7iUC6nqBHVxEt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2kxf.5RkC61PqCnpZ5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0oXcviEyvsQDFa06D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rofdKYe0.9gJXVIFi1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OR4aGJUuVYFXDYwle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hysutDLk.5N_Z_4lAx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McS6ITXE.uTCh93DVj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9DM83LUe7U8LrxjrN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XpEH4ANE.gsSXEkfGy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XWMLq2LEq8YIleppLJ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9unuVZ70K9TRMM2qlt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_b14Jv3EmMzbrC.j0b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B_FImEUyOsm3ULFA6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N0aMTo0E.FZLLBEqd2R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Ux8JEeIUuBa5oQbmOc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_FPxIGVU62nYPEim87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uNMV1vs0y8ktnAdjBP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wQ1l_kPUCiMtYF.pha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YTZd98kUykdBAxlAxb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0PfsjEF0.4Iz6amosc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JtrxlURUaeVOmvWYdn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_gi7xTck6Fbx6bAvNP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NCNW6AbUmahTCFnCkO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1eGNm3p0Cg6VvHM.TY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Nfp4pjEm7Nowx5KAm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8eno94bkykqsB6Dx9E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5B5aWm0EizksdX_039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pyzElYD0K3Q9k6Wr2k1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2DdCdn4EKAawdApOmt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2ywgLvh0.r_KayXTXz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lfucVx5EuL0ai3wJ8h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QeV3PnWU2rayilSmN0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_5T4WRREyrnf6GUTeo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nTqipk0Wyv05EjMeJ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VpUxF9.kidRbKMI9ao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0xGiRf60.0nFRPc_A5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3gxzvt8kSQPl8maV9I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zpS_ANRkSPPtkf0WYG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8_rN1QUeWKEjxJ.xq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5ZLAtSmEW4_5UTxMI73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0xGiRf60.0nFRPc_A5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XWMLq2LEq8YIleppLJ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ZzaRJ5xUmBX.ZHnGbc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2ywgLvh0.r_KayXTXz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2ywgLvh0.r_KayXTXzJ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Ux8JEeIUuBa5oQbmOc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.S1WpTE2IZZPCt00L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bqjvHkiGzJndXCPi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0XxIyzkqnbDG0qzB7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EHYPfIEOb3.lkYNDs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zXdaDKKUaGhtkGMDG1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N_V02y80e6gS59UsjA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S5EZFvZ02ykqBs6.0.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Yo9NSiRU.ZkzRk0DN1X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</TotalTime>
  <Words>1455</Words>
  <Application>Microsoft Office PowerPoint</Application>
  <PresentationFormat>Экран (4:3)</PresentationFormat>
  <Paragraphs>418</Paragraphs>
  <Slides>3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36" baseType="lpstr">
      <vt:lpstr>Тема Office</vt:lpstr>
      <vt:lpstr>Лист Microsoft Excel 97-2003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Центральный архив медицинских изображений «ЦАМИ» Опыт промышленной эксплуатации более 5 ле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Марат С. Нурмиев</cp:lastModifiedBy>
  <cp:revision>23</cp:revision>
  <dcterms:created xsi:type="dcterms:W3CDTF">2013-09-24T11:00:51Z</dcterms:created>
  <dcterms:modified xsi:type="dcterms:W3CDTF">2013-09-25T07:11:07Z</dcterms:modified>
</cp:coreProperties>
</file>